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  <p:sldMasterId id="2147483714" r:id="rId5"/>
  </p:sldMasterIdLst>
  <p:notesMasterIdLst>
    <p:notesMasterId r:id="rId18"/>
  </p:notesMasterIdLst>
  <p:sldIdLst>
    <p:sldId id="267" r:id="rId6"/>
    <p:sldId id="256" r:id="rId7"/>
    <p:sldId id="257" r:id="rId8"/>
    <p:sldId id="258" r:id="rId9"/>
    <p:sldId id="259" r:id="rId10"/>
    <p:sldId id="260" r:id="rId11"/>
    <p:sldId id="261" r:id="rId12"/>
    <p:sldId id="266" r:id="rId13"/>
    <p:sldId id="262" r:id="rId14"/>
    <p:sldId id="263" r:id="rId15"/>
    <p:sldId id="264" r:id="rId16"/>
    <p:sldId id="265" r:id="rId17"/>
  </p:sldIdLst>
  <p:sldSz cx="9144000" cy="5143500" type="screen16x9"/>
  <p:notesSz cx="51435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365D"/>
    <a:srgbClr val="59C8E6"/>
    <a:srgbClr val="004C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7" autoAdjust="0"/>
    <p:restoredTop sz="94610"/>
  </p:normalViewPr>
  <p:slideViewPr>
    <p:cSldViewPr snapToGrid="0" snapToObjects="1">
      <p:cViewPr varScale="1">
        <p:scale>
          <a:sx n="146" d="100"/>
          <a:sy n="146" d="100"/>
        </p:scale>
        <p:origin x="63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9612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16933-4024-557B-6D01-9A9DE2EB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B8CE0C-9724-859C-71CD-4A7C87AD60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C183E3-CE74-B93C-E512-D2B583E3F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7C3CAC-F9F4-C4A6-6898-7CEEBAFC90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5206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4.png"/><Relationship Id="rId7" Type="http://schemas.openxmlformats.org/officeDocument/2006/relationships/image" Target="../media/image7.sv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6.emf"/><Relationship Id="rId10" Type="http://schemas.openxmlformats.org/officeDocument/2006/relationships/image" Target="../media/image10.emf"/><Relationship Id="rId4" Type="http://schemas.openxmlformats.org/officeDocument/2006/relationships/image" Target="../media/image5.png"/><Relationship Id="rId9" Type="http://schemas.openxmlformats.org/officeDocument/2006/relationships/image" Target="../media/image9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hyperlink" Target="https://www.facebook.com/Tricentis/" TargetMode="External"/><Relationship Id="rId7" Type="http://schemas.openxmlformats.org/officeDocument/2006/relationships/hyperlink" Target="https://twitter.com/Tricentis?ref_src=twsrc%5Egoogle%7Ctwcamp%5Eserp%7Ctwgr%5Eauthor" TargetMode="External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9.svg"/><Relationship Id="rId11" Type="http://schemas.openxmlformats.org/officeDocument/2006/relationships/image" Target="../media/image47.svg"/><Relationship Id="rId5" Type="http://schemas.openxmlformats.org/officeDocument/2006/relationships/hyperlink" Target="https://www.linkedin.com/company/tricentis" TargetMode="External"/><Relationship Id="rId10" Type="http://schemas.openxmlformats.org/officeDocument/2006/relationships/image" Target="../media/image51.svg"/><Relationship Id="rId4" Type="http://schemas.openxmlformats.org/officeDocument/2006/relationships/image" Target="../media/image48.svg"/><Relationship Id="rId9" Type="http://schemas.openxmlformats.org/officeDocument/2006/relationships/hyperlink" Target="https://shiftsync.tricentis.com/" TargetMode="Externa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4.png"/><Relationship Id="rId7" Type="http://schemas.openxmlformats.org/officeDocument/2006/relationships/image" Target="../media/image7.sv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6.emf"/><Relationship Id="rId10" Type="http://schemas.openxmlformats.org/officeDocument/2006/relationships/image" Target="../media/image10.emf"/><Relationship Id="rId4" Type="http://schemas.openxmlformats.org/officeDocument/2006/relationships/image" Target="../media/image5.png"/><Relationship Id="rId9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7.svg"/><Relationship Id="rId7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10.emf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7.svg"/><Relationship Id="rId7" Type="http://schemas.openxmlformats.org/officeDocument/2006/relationships/image" Target="../media/image10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emf"/><Relationship Id="rId4" Type="http://schemas.openxmlformats.org/officeDocument/2006/relationships/image" Target="../media/image12.emf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sv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svg"/><Relationship Id="rId5" Type="http://schemas.openxmlformats.org/officeDocument/2006/relationships/image" Target="../media/image39.svg"/><Relationship Id="rId4" Type="http://schemas.openxmlformats.org/officeDocument/2006/relationships/image" Target="../media/image3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0.svg"/><Relationship Id="rId5" Type="http://schemas.openxmlformats.org/officeDocument/2006/relationships/image" Target="../media/image38.emf"/><Relationship Id="rId4" Type="http://schemas.openxmlformats.org/officeDocument/2006/relationships/image" Target="../media/image36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E7BC30A-EC36-3E4C-B479-4BDDA6E281FA}"/>
              </a:ext>
            </a:extLst>
          </p:cNvPr>
          <p:cNvSpPr/>
          <p:nvPr/>
        </p:nvSpPr>
        <p:spPr>
          <a:xfrm>
            <a:off x="0" y="12622"/>
            <a:ext cx="9144000" cy="483965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8521CE-12B3-CA48-A0C1-E932EE1E8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75E31F-A63C-344A-9820-7E3CAF395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463966-FEA5-6E47-9E81-0C24D7BF2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219" y="303850"/>
            <a:ext cx="2381055" cy="4917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993D49-7B72-A149-8B4F-715F1372E9DE}"/>
              </a:ext>
            </a:extLst>
          </p:cNvPr>
          <p:cNvSpPr txBox="1"/>
          <p:nvPr/>
        </p:nvSpPr>
        <p:spPr>
          <a:xfrm>
            <a:off x="349219" y="985969"/>
            <a:ext cx="4329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GLOBAL LEADER IN CONTINUOUS TEST AUTOM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A3AB09-1323-6A44-A1B4-50B0963025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679" y="-2044660"/>
            <a:ext cx="11349758" cy="81866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37F21D1-3AF5-354B-998C-CF6667288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5877" y="-989342"/>
            <a:ext cx="4219504" cy="6818334"/>
          </a:xfrm>
          <a:prstGeom prst="rect">
            <a:avLst/>
          </a:prstGeom>
          <a:effectLst>
            <a:outerShdw blurRad="395014" dir="10800000" algn="r" rotWithShape="0">
              <a:schemeClr val="accent2">
                <a:lumMod val="50000"/>
                <a:alpha val="63000"/>
              </a:scheme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E020C0B-DE37-2042-8A8E-B93800F86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839649"/>
            <a:ext cx="9144000" cy="303851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D3836AF-4C12-5349-8F8F-EACBAAB23D50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8436FEA2-560E-FC4B-83FC-72410055375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8817" y="-751416"/>
            <a:ext cx="3725563" cy="634248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B0DAEA1-446A-434F-B84A-19D443C49E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1599" y="2577770"/>
            <a:ext cx="1576388" cy="15763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055A59B6-1918-AA40-8DE1-FAEA6F3E73E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58473" y="1390747"/>
            <a:ext cx="1088861" cy="21777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C9F107E-30F6-ED47-B36E-FDB7A61AD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3343" y="1093420"/>
            <a:ext cx="1379876" cy="1379876"/>
          </a:xfrm>
          <a:prstGeom prst="rect">
            <a:avLst/>
          </a:prstGeom>
        </p:spPr>
      </p:pic>
      <p:sp>
        <p:nvSpPr>
          <p:cNvPr id="16" name="Slide Number Placeholder 17">
            <a:extLst>
              <a:ext uri="{FF2B5EF4-FFF2-40B4-BE49-F238E27FC236}">
                <a16:creationId xmlns:a16="http://schemas.microsoft.com/office/drawing/2014/main" id="{3A9BE1AB-AE23-AD46-A670-968D431E11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06590" y="4852272"/>
            <a:ext cx="2057400" cy="273844"/>
          </a:xfrm>
        </p:spPr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Title 14">
            <a:extLst>
              <a:ext uri="{FF2B5EF4-FFF2-40B4-BE49-F238E27FC236}">
                <a16:creationId xmlns:a16="http://schemas.microsoft.com/office/drawing/2014/main" id="{38E540DA-925C-A547-9401-CFF0ABD7D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98" y="1698153"/>
            <a:ext cx="3570779" cy="87359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DF2EFC1F-502A-2745-8672-128F3E5FE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854" y="2800351"/>
            <a:ext cx="3596878" cy="565547"/>
          </a:xfrm>
        </p:spPr>
        <p:txBody>
          <a:bodyPr rIns="0">
            <a:normAutofit/>
          </a:bodyPr>
          <a:lstStyle>
            <a:lvl1pPr marL="0" indent="0">
              <a:buNone/>
              <a:defRPr sz="1800"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449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424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513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F83A3037-40FF-D749-893A-32B81E778FBE}"/>
              </a:ext>
            </a:extLst>
          </p:cNvPr>
          <p:cNvSpPr/>
          <p:nvPr/>
        </p:nvSpPr>
        <p:spPr>
          <a:xfrm>
            <a:off x="1062455" y="1592304"/>
            <a:ext cx="1979172" cy="2604304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0B85AD"/>
              </a:gs>
              <a:gs pos="0">
                <a:srgbClr val="289DC0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9EA09B-AFFE-EF42-A02F-E941C0848113}"/>
              </a:ext>
            </a:extLst>
          </p:cNvPr>
          <p:cNvSpPr/>
          <p:nvPr/>
        </p:nvSpPr>
        <p:spPr>
          <a:xfrm>
            <a:off x="3582414" y="1592304"/>
            <a:ext cx="1979172" cy="2604304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76BA3"/>
              </a:gs>
              <a:gs pos="0">
                <a:srgbClr val="0B7EAA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7DFDAED-D08F-F044-8286-4790CEB39B0E}"/>
              </a:ext>
            </a:extLst>
          </p:cNvPr>
          <p:cNvSpPr/>
          <p:nvPr/>
        </p:nvSpPr>
        <p:spPr>
          <a:xfrm>
            <a:off x="6102373" y="1592304"/>
            <a:ext cx="1979172" cy="2604304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4539A"/>
              </a:gs>
              <a:gs pos="0">
                <a:srgbClr val="0465A1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A2E133-E99A-5148-869C-8056287B2F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45431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C3E552F-78B9-D64A-9435-806AE4250D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56157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834513F-56E5-8A43-918F-DD6D7E1A9D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78506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04EFD1-6C62-BE4F-B1EA-893286ACED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90235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AF0469C-0FEA-4843-8C5A-2B65AFAA5A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00960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25BC17E-7677-FF4D-938D-39814829E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4933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313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ocks 3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483525-72D6-4CEA-CFB5-DE59F3BC26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/>
          </a:blip>
          <a:srcRect l="35698" t="-2" b="-1872"/>
          <a:stretch/>
        </p:blipFill>
        <p:spPr>
          <a:xfrm>
            <a:off x="-7374" y="2905756"/>
            <a:ext cx="1469714" cy="1512168"/>
          </a:xfrm>
          <a:prstGeom prst="rect">
            <a:avLst/>
          </a:prstGeom>
        </p:spPr>
      </p:pic>
      <p:sp>
        <p:nvSpPr>
          <p:cNvPr id="7" name="Snip Single Corner of Rectangle 5">
            <a:extLst>
              <a:ext uri="{FF2B5EF4-FFF2-40B4-BE49-F238E27FC236}">
                <a16:creationId xmlns:a16="http://schemas.microsoft.com/office/drawing/2014/main" id="{9343DDC0-1774-34C5-EB09-C971CC8B8CA0}"/>
              </a:ext>
            </a:extLst>
          </p:cNvPr>
          <p:cNvSpPr/>
          <p:nvPr/>
        </p:nvSpPr>
        <p:spPr>
          <a:xfrm flipV="1">
            <a:off x="444256" y="1289366"/>
            <a:ext cx="2442980" cy="3128558"/>
          </a:xfrm>
          <a:custGeom>
            <a:avLst/>
            <a:gdLst>
              <a:gd name="connsiteX0" fmla="*/ 0 w 2592288"/>
              <a:gd name="connsiteY0" fmla="*/ 0 h 4147661"/>
              <a:gd name="connsiteX1" fmla="*/ 2160231 w 2592288"/>
              <a:gd name="connsiteY1" fmla="*/ 0 h 4147661"/>
              <a:gd name="connsiteX2" fmla="*/ 2592288 w 2592288"/>
              <a:gd name="connsiteY2" fmla="*/ 432057 h 4147661"/>
              <a:gd name="connsiteX3" fmla="*/ 2592288 w 2592288"/>
              <a:gd name="connsiteY3" fmla="*/ 4147661 h 4147661"/>
              <a:gd name="connsiteX4" fmla="*/ 0 w 2592288"/>
              <a:gd name="connsiteY4" fmla="*/ 4147661 h 4147661"/>
              <a:gd name="connsiteX5" fmla="*/ 0 w 2592288"/>
              <a:gd name="connsiteY5" fmla="*/ 0 h 4147661"/>
              <a:gd name="connsiteX0" fmla="*/ 676894 w 3269182"/>
              <a:gd name="connsiteY0" fmla="*/ 0 h 4147661"/>
              <a:gd name="connsiteX1" fmla="*/ 2837125 w 3269182"/>
              <a:gd name="connsiteY1" fmla="*/ 0 h 4147661"/>
              <a:gd name="connsiteX2" fmla="*/ 3269182 w 3269182"/>
              <a:gd name="connsiteY2" fmla="*/ 432057 h 4147661"/>
              <a:gd name="connsiteX3" fmla="*/ 3269182 w 3269182"/>
              <a:gd name="connsiteY3" fmla="*/ 4147661 h 4147661"/>
              <a:gd name="connsiteX4" fmla="*/ 0 w 3269182"/>
              <a:gd name="connsiteY4" fmla="*/ 4147661 h 4147661"/>
              <a:gd name="connsiteX5" fmla="*/ 676894 w 3269182"/>
              <a:gd name="connsiteY5" fmla="*/ 0 h 4147661"/>
              <a:gd name="connsiteX0" fmla="*/ 23751 w 3269182"/>
              <a:gd name="connsiteY0" fmla="*/ 0 h 4171411"/>
              <a:gd name="connsiteX1" fmla="*/ 2837125 w 3269182"/>
              <a:gd name="connsiteY1" fmla="*/ 23750 h 4171411"/>
              <a:gd name="connsiteX2" fmla="*/ 3269182 w 3269182"/>
              <a:gd name="connsiteY2" fmla="*/ 455807 h 4171411"/>
              <a:gd name="connsiteX3" fmla="*/ 3269182 w 3269182"/>
              <a:gd name="connsiteY3" fmla="*/ 4171411 h 4171411"/>
              <a:gd name="connsiteX4" fmla="*/ 0 w 3269182"/>
              <a:gd name="connsiteY4" fmla="*/ 4171411 h 4171411"/>
              <a:gd name="connsiteX5" fmla="*/ 23751 w 3269182"/>
              <a:gd name="connsiteY5" fmla="*/ 0 h 4171411"/>
              <a:gd name="connsiteX0" fmla="*/ 11876 w 3257307"/>
              <a:gd name="connsiteY0" fmla="*/ 0 h 4171411"/>
              <a:gd name="connsiteX1" fmla="*/ 2825250 w 3257307"/>
              <a:gd name="connsiteY1" fmla="*/ 23750 h 4171411"/>
              <a:gd name="connsiteX2" fmla="*/ 3257307 w 3257307"/>
              <a:gd name="connsiteY2" fmla="*/ 455807 h 4171411"/>
              <a:gd name="connsiteX3" fmla="*/ 3257307 w 3257307"/>
              <a:gd name="connsiteY3" fmla="*/ 4171411 h 4171411"/>
              <a:gd name="connsiteX4" fmla="*/ 0 w 3257307"/>
              <a:gd name="connsiteY4" fmla="*/ 4159536 h 4171411"/>
              <a:gd name="connsiteX5" fmla="*/ 11876 w 3257307"/>
              <a:gd name="connsiteY5" fmla="*/ 0 h 4171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57307" h="4171411">
                <a:moveTo>
                  <a:pt x="11876" y="0"/>
                </a:moveTo>
                <a:lnTo>
                  <a:pt x="2825250" y="23750"/>
                </a:lnTo>
                <a:lnTo>
                  <a:pt x="3257307" y="455807"/>
                </a:lnTo>
                <a:lnTo>
                  <a:pt x="3257307" y="4171411"/>
                </a:lnTo>
                <a:lnTo>
                  <a:pt x="0" y="4159536"/>
                </a:lnTo>
                <a:cubicBezTo>
                  <a:pt x="3959" y="2773024"/>
                  <a:pt x="7917" y="1386512"/>
                  <a:pt x="118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FBCEC-EE42-FE4C-FCA6-58032F5AC1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alphaModFix amt="34000"/>
          </a:blip>
          <a:srcRect l="1" r="-2913"/>
          <a:stretch/>
        </p:blipFill>
        <p:spPr>
          <a:xfrm rot="5400000" flipH="1">
            <a:off x="5437489" y="723598"/>
            <a:ext cx="1591971" cy="1546910"/>
          </a:xfrm>
          <a:prstGeom prst="rect">
            <a:avLst/>
          </a:prstGeom>
        </p:spPr>
      </p:pic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B50DE321-237A-70CF-2A71-EDDDEBE5C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179" y="2139702"/>
            <a:ext cx="1837134" cy="1973029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nip Single Corner of Rectangle 5">
            <a:extLst>
              <a:ext uri="{FF2B5EF4-FFF2-40B4-BE49-F238E27FC236}">
                <a16:creationId xmlns:a16="http://schemas.microsoft.com/office/drawing/2014/main" id="{E249B7F6-8A34-98AE-2EC5-FF2CE386DB7D}"/>
              </a:ext>
            </a:extLst>
          </p:cNvPr>
          <p:cNvSpPr/>
          <p:nvPr/>
        </p:nvSpPr>
        <p:spPr>
          <a:xfrm flipV="1">
            <a:off x="3338866" y="1289366"/>
            <a:ext cx="2442980" cy="3128558"/>
          </a:xfrm>
          <a:custGeom>
            <a:avLst/>
            <a:gdLst>
              <a:gd name="connsiteX0" fmla="*/ 0 w 2592288"/>
              <a:gd name="connsiteY0" fmla="*/ 0 h 4147661"/>
              <a:gd name="connsiteX1" fmla="*/ 2160231 w 2592288"/>
              <a:gd name="connsiteY1" fmla="*/ 0 h 4147661"/>
              <a:gd name="connsiteX2" fmla="*/ 2592288 w 2592288"/>
              <a:gd name="connsiteY2" fmla="*/ 432057 h 4147661"/>
              <a:gd name="connsiteX3" fmla="*/ 2592288 w 2592288"/>
              <a:gd name="connsiteY3" fmla="*/ 4147661 h 4147661"/>
              <a:gd name="connsiteX4" fmla="*/ 0 w 2592288"/>
              <a:gd name="connsiteY4" fmla="*/ 4147661 h 4147661"/>
              <a:gd name="connsiteX5" fmla="*/ 0 w 2592288"/>
              <a:gd name="connsiteY5" fmla="*/ 0 h 4147661"/>
              <a:gd name="connsiteX0" fmla="*/ 676894 w 3269182"/>
              <a:gd name="connsiteY0" fmla="*/ 0 h 4147661"/>
              <a:gd name="connsiteX1" fmla="*/ 2837125 w 3269182"/>
              <a:gd name="connsiteY1" fmla="*/ 0 h 4147661"/>
              <a:gd name="connsiteX2" fmla="*/ 3269182 w 3269182"/>
              <a:gd name="connsiteY2" fmla="*/ 432057 h 4147661"/>
              <a:gd name="connsiteX3" fmla="*/ 3269182 w 3269182"/>
              <a:gd name="connsiteY3" fmla="*/ 4147661 h 4147661"/>
              <a:gd name="connsiteX4" fmla="*/ 0 w 3269182"/>
              <a:gd name="connsiteY4" fmla="*/ 4147661 h 4147661"/>
              <a:gd name="connsiteX5" fmla="*/ 676894 w 3269182"/>
              <a:gd name="connsiteY5" fmla="*/ 0 h 4147661"/>
              <a:gd name="connsiteX0" fmla="*/ 23751 w 3269182"/>
              <a:gd name="connsiteY0" fmla="*/ 0 h 4171411"/>
              <a:gd name="connsiteX1" fmla="*/ 2837125 w 3269182"/>
              <a:gd name="connsiteY1" fmla="*/ 23750 h 4171411"/>
              <a:gd name="connsiteX2" fmla="*/ 3269182 w 3269182"/>
              <a:gd name="connsiteY2" fmla="*/ 455807 h 4171411"/>
              <a:gd name="connsiteX3" fmla="*/ 3269182 w 3269182"/>
              <a:gd name="connsiteY3" fmla="*/ 4171411 h 4171411"/>
              <a:gd name="connsiteX4" fmla="*/ 0 w 3269182"/>
              <a:gd name="connsiteY4" fmla="*/ 4171411 h 4171411"/>
              <a:gd name="connsiteX5" fmla="*/ 23751 w 3269182"/>
              <a:gd name="connsiteY5" fmla="*/ 0 h 4171411"/>
              <a:gd name="connsiteX0" fmla="*/ 11876 w 3257307"/>
              <a:gd name="connsiteY0" fmla="*/ 0 h 4171411"/>
              <a:gd name="connsiteX1" fmla="*/ 2825250 w 3257307"/>
              <a:gd name="connsiteY1" fmla="*/ 23750 h 4171411"/>
              <a:gd name="connsiteX2" fmla="*/ 3257307 w 3257307"/>
              <a:gd name="connsiteY2" fmla="*/ 455807 h 4171411"/>
              <a:gd name="connsiteX3" fmla="*/ 3257307 w 3257307"/>
              <a:gd name="connsiteY3" fmla="*/ 4171411 h 4171411"/>
              <a:gd name="connsiteX4" fmla="*/ 0 w 3257307"/>
              <a:gd name="connsiteY4" fmla="*/ 4159536 h 4171411"/>
              <a:gd name="connsiteX5" fmla="*/ 11876 w 3257307"/>
              <a:gd name="connsiteY5" fmla="*/ 0 h 4171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57307" h="4171411">
                <a:moveTo>
                  <a:pt x="11876" y="0"/>
                </a:moveTo>
                <a:lnTo>
                  <a:pt x="2825250" y="23750"/>
                </a:lnTo>
                <a:lnTo>
                  <a:pt x="3257307" y="455807"/>
                </a:lnTo>
                <a:lnTo>
                  <a:pt x="3257307" y="4171411"/>
                </a:lnTo>
                <a:lnTo>
                  <a:pt x="0" y="4159536"/>
                </a:lnTo>
                <a:cubicBezTo>
                  <a:pt x="3959" y="2773024"/>
                  <a:pt x="7917" y="1386512"/>
                  <a:pt x="118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CE1EF633-0CD5-F938-6F20-3D9FD6FC75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41789" y="2139702"/>
            <a:ext cx="1837134" cy="1973029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nip Single Corner of Rectangle 5">
            <a:extLst>
              <a:ext uri="{FF2B5EF4-FFF2-40B4-BE49-F238E27FC236}">
                <a16:creationId xmlns:a16="http://schemas.microsoft.com/office/drawing/2014/main" id="{9144AD14-167C-2F99-7DF4-1AA9EFF7D1B2}"/>
              </a:ext>
            </a:extLst>
          </p:cNvPr>
          <p:cNvSpPr/>
          <p:nvPr/>
        </p:nvSpPr>
        <p:spPr>
          <a:xfrm flipV="1">
            <a:off x="6233476" y="1289366"/>
            <a:ext cx="2442980" cy="3128558"/>
          </a:xfrm>
          <a:custGeom>
            <a:avLst/>
            <a:gdLst>
              <a:gd name="connsiteX0" fmla="*/ 0 w 2592288"/>
              <a:gd name="connsiteY0" fmla="*/ 0 h 4147661"/>
              <a:gd name="connsiteX1" fmla="*/ 2160231 w 2592288"/>
              <a:gd name="connsiteY1" fmla="*/ 0 h 4147661"/>
              <a:gd name="connsiteX2" fmla="*/ 2592288 w 2592288"/>
              <a:gd name="connsiteY2" fmla="*/ 432057 h 4147661"/>
              <a:gd name="connsiteX3" fmla="*/ 2592288 w 2592288"/>
              <a:gd name="connsiteY3" fmla="*/ 4147661 h 4147661"/>
              <a:gd name="connsiteX4" fmla="*/ 0 w 2592288"/>
              <a:gd name="connsiteY4" fmla="*/ 4147661 h 4147661"/>
              <a:gd name="connsiteX5" fmla="*/ 0 w 2592288"/>
              <a:gd name="connsiteY5" fmla="*/ 0 h 4147661"/>
              <a:gd name="connsiteX0" fmla="*/ 676894 w 3269182"/>
              <a:gd name="connsiteY0" fmla="*/ 0 h 4147661"/>
              <a:gd name="connsiteX1" fmla="*/ 2837125 w 3269182"/>
              <a:gd name="connsiteY1" fmla="*/ 0 h 4147661"/>
              <a:gd name="connsiteX2" fmla="*/ 3269182 w 3269182"/>
              <a:gd name="connsiteY2" fmla="*/ 432057 h 4147661"/>
              <a:gd name="connsiteX3" fmla="*/ 3269182 w 3269182"/>
              <a:gd name="connsiteY3" fmla="*/ 4147661 h 4147661"/>
              <a:gd name="connsiteX4" fmla="*/ 0 w 3269182"/>
              <a:gd name="connsiteY4" fmla="*/ 4147661 h 4147661"/>
              <a:gd name="connsiteX5" fmla="*/ 676894 w 3269182"/>
              <a:gd name="connsiteY5" fmla="*/ 0 h 4147661"/>
              <a:gd name="connsiteX0" fmla="*/ 23751 w 3269182"/>
              <a:gd name="connsiteY0" fmla="*/ 0 h 4171411"/>
              <a:gd name="connsiteX1" fmla="*/ 2837125 w 3269182"/>
              <a:gd name="connsiteY1" fmla="*/ 23750 h 4171411"/>
              <a:gd name="connsiteX2" fmla="*/ 3269182 w 3269182"/>
              <a:gd name="connsiteY2" fmla="*/ 455807 h 4171411"/>
              <a:gd name="connsiteX3" fmla="*/ 3269182 w 3269182"/>
              <a:gd name="connsiteY3" fmla="*/ 4171411 h 4171411"/>
              <a:gd name="connsiteX4" fmla="*/ 0 w 3269182"/>
              <a:gd name="connsiteY4" fmla="*/ 4171411 h 4171411"/>
              <a:gd name="connsiteX5" fmla="*/ 23751 w 3269182"/>
              <a:gd name="connsiteY5" fmla="*/ 0 h 4171411"/>
              <a:gd name="connsiteX0" fmla="*/ 11876 w 3257307"/>
              <a:gd name="connsiteY0" fmla="*/ 0 h 4171411"/>
              <a:gd name="connsiteX1" fmla="*/ 2825250 w 3257307"/>
              <a:gd name="connsiteY1" fmla="*/ 23750 h 4171411"/>
              <a:gd name="connsiteX2" fmla="*/ 3257307 w 3257307"/>
              <a:gd name="connsiteY2" fmla="*/ 455807 h 4171411"/>
              <a:gd name="connsiteX3" fmla="*/ 3257307 w 3257307"/>
              <a:gd name="connsiteY3" fmla="*/ 4171411 h 4171411"/>
              <a:gd name="connsiteX4" fmla="*/ 0 w 3257307"/>
              <a:gd name="connsiteY4" fmla="*/ 4159536 h 4171411"/>
              <a:gd name="connsiteX5" fmla="*/ 11876 w 3257307"/>
              <a:gd name="connsiteY5" fmla="*/ 0 h 4171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57307" h="4171411">
                <a:moveTo>
                  <a:pt x="11876" y="0"/>
                </a:moveTo>
                <a:lnTo>
                  <a:pt x="2825250" y="23750"/>
                </a:lnTo>
                <a:lnTo>
                  <a:pt x="3257307" y="455807"/>
                </a:lnTo>
                <a:lnTo>
                  <a:pt x="3257307" y="4171411"/>
                </a:lnTo>
                <a:lnTo>
                  <a:pt x="0" y="4159536"/>
                </a:lnTo>
                <a:cubicBezTo>
                  <a:pt x="3959" y="2773024"/>
                  <a:pt x="7917" y="1386512"/>
                  <a:pt x="118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301B14A0-0452-B4CE-686D-EB94998139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36399" y="2139702"/>
            <a:ext cx="1837134" cy="1973029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517F55E9-951E-D291-3FE6-DBA796EAA3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7713" y="1491853"/>
            <a:ext cx="1837135" cy="539837"/>
          </a:xfrm>
        </p:spPr>
        <p:txBody>
          <a:bodyPr/>
          <a:lstStyle>
            <a:lvl1pPr marL="0" indent="0">
              <a:buNone/>
              <a:defRPr sz="120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601C7A3B-88FF-9239-320C-8A34933F3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2324" y="1491853"/>
            <a:ext cx="1837135" cy="539837"/>
          </a:xfrm>
        </p:spPr>
        <p:txBody>
          <a:bodyPr/>
          <a:lstStyle>
            <a:lvl1pPr marL="0" indent="0">
              <a:buNone/>
              <a:defRPr sz="120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2B994DB5-1BE3-AF57-C959-F2960A231B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4748" y="1491853"/>
            <a:ext cx="1837135" cy="539837"/>
          </a:xfrm>
        </p:spPr>
        <p:txBody>
          <a:bodyPr/>
          <a:lstStyle>
            <a:lvl1pPr marL="0" indent="0">
              <a:buNone/>
              <a:defRPr sz="120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A706462B-7932-E15A-3600-474A0332AD6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8DE953BA-FB4F-C8BF-9551-4E8748A53F4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18D120EB-783A-0EF7-8440-1674559668B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381808"/>
      </p:ext>
    </p:extLst>
  </p:cSld>
  <p:clrMapOvr>
    <a:masterClrMapping/>
  </p:clrMapOvr>
  <p:hf sldNum="0"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ocks 4_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8" y="151598"/>
            <a:ext cx="6728947" cy="53586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92541E61-E47C-2B3E-C083-832125A1A4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614" y="3200696"/>
            <a:ext cx="1836600" cy="110932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A0F45491-FF2A-DCF7-4985-B283E550AD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347" y="2767876"/>
            <a:ext cx="1837135" cy="372720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F842408E-892F-330A-2780-892D601F73A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87003" y="1352050"/>
            <a:ext cx="1241822" cy="117990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155CD76-6DBF-0B38-2735-26EF2CE153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07425" y="3200696"/>
            <a:ext cx="1836600" cy="110932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3BC230C2-E55B-38BF-B757-5563D86238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07158" y="2767876"/>
            <a:ext cx="1837135" cy="372720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CC76115-0AE5-F2FA-521F-5C8B002075B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904814" y="1352050"/>
            <a:ext cx="1241822" cy="117990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31B24223-C17C-D340-2A82-30D8B3A13C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22028" y="3200696"/>
            <a:ext cx="1836600" cy="110932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B9180796-8F5C-649C-41B3-3322611CBD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1762" y="2767876"/>
            <a:ext cx="1837135" cy="372720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4BC76FCB-0B7F-A536-D93E-E3DBD856345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19417" y="1352050"/>
            <a:ext cx="1241822" cy="117990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A3A9EC7-9130-4C6E-6DBC-1840477A13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37167" y="3200696"/>
            <a:ext cx="1836600" cy="110932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2">
            <a:extLst>
              <a:ext uri="{FF2B5EF4-FFF2-40B4-BE49-F238E27FC236}">
                <a16:creationId xmlns:a16="http://schemas.microsoft.com/office/drawing/2014/main" id="{D5C77CC4-2D52-72EB-220A-5BE0C16781D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36900" y="2767876"/>
            <a:ext cx="1837135" cy="372720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7B3B91E2-7855-1E03-1413-2EF8EB2EB50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134556" y="1352050"/>
            <a:ext cx="1241822" cy="117990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CD372987-AE51-0062-0EAE-C9CFE1F725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89348" y="739941"/>
            <a:ext cx="6728947" cy="312872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FF2D29-F1F8-3121-3DD0-F21AAA457F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DAD2574-CD57-3689-1FE4-48DE606DC1F5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D055E842-D6B6-D004-6924-B014B741B74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630924"/>
      </p:ext>
    </p:extLst>
  </p:cSld>
  <p:clrMapOvr>
    <a:masterClrMapping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Rows 3_with icon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03079DB-7999-206C-59A3-81F9274BA0DD}"/>
              </a:ext>
            </a:extLst>
          </p:cNvPr>
          <p:cNvSpPr>
            <a:spLocks noChangeAspect="1"/>
          </p:cNvSpPr>
          <p:nvPr/>
        </p:nvSpPr>
        <p:spPr>
          <a:xfrm>
            <a:off x="489347" y="1211417"/>
            <a:ext cx="891000" cy="891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C0908F9-D2A8-16E6-59D9-550AC0186248}"/>
              </a:ext>
            </a:extLst>
          </p:cNvPr>
          <p:cNvSpPr/>
          <p:nvPr/>
        </p:nvSpPr>
        <p:spPr>
          <a:xfrm>
            <a:off x="8018278" y="2184833"/>
            <a:ext cx="599400" cy="599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FF425638-9B75-B0DE-1EA2-7F665AA2AB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04578" y="1568138"/>
            <a:ext cx="4246184" cy="418807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1350" b="0"/>
            </a:lvl1pPr>
            <a:lvl2pPr marL="171450" indent="0">
              <a:lnSpc>
                <a:spcPts val="1200"/>
              </a:lnSpc>
              <a:buNone/>
              <a:defRPr sz="1200"/>
            </a:lvl2pPr>
            <a:lvl3pPr marL="342900" indent="0">
              <a:buNone/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CB52E5BD-16BF-CE51-A2AA-DAF4A8E395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1671" y="1241748"/>
            <a:ext cx="4249091" cy="182339"/>
          </a:xfrm>
        </p:spPr>
        <p:txBody>
          <a:bodyPr/>
          <a:lstStyle>
            <a:lvl1pPr marL="0" indent="0" algn="l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6F3BAE13-B4AF-4FF4-21EE-1B3E4790C7D4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10847" y="1332917"/>
            <a:ext cx="648000" cy="64800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B65FD06-2B5C-9E69-8D9E-7E41F33410C1}"/>
              </a:ext>
            </a:extLst>
          </p:cNvPr>
          <p:cNvSpPr>
            <a:spLocks noChangeAspect="1"/>
          </p:cNvSpPr>
          <p:nvPr/>
        </p:nvSpPr>
        <p:spPr>
          <a:xfrm>
            <a:off x="489347" y="2352805"/>
            <a:ext cx="891000" cy="891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CDFF5AD-4DEB-426D-F754-26A00EA55F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04578" y="2709525"/>
            <a:ext cx="4246184" cy="418807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1350" b="0"/>
            </a:lvl1pPr>
            <a:lvl2pPr marL="171450" indent="0">
              <a:lnSpc>
                <a:spcPts val="1200"/>
              </a:lnSpc>
              <a:buNone/>
              <a:defRPr sz="1200"/>
            </a:lvl2pPr>
            <a:lvl3pPr marL="342900" indent="0">
              <a:buNone/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E6D7B6CC-15A8-1DA7-B018-0AB25EA18D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671" y="2383135"/>
            <a:ext cx="4249091" cy="182339"/>
          </a:xfrm>
        </p:spPr>
        <p:txBody>
          <a:bodyPr/>
          <a:lstStyle>
            <a:lvl1pPr marL="0" indent="0" algn="l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F8CC1BAF-601B-735D-C46A-B52233BB1F8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610847" y="2474305"/>
            <a:ext cx="648000" cy="64800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AT" dirty="0"/>
              <a:t>Ic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90CD9C-BA76-1A82-B769-A910FF924C44}"/>
              </a:ext>
            </a:extLst>
          </p:cNvPr>
          <p:cNvSpPr>
            <a:spLocks noChangeAspect="1"/>
          </p:cNvSpPr>
          <p:nvPr/>
        </p:nvSpPr>
        <p:spPr>
          <a:xfrm>
            <a:off x="489347" y="3521831"/>
            <a:ext cx="891000" cy="891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E4337FA-6EB1-87D6-0126-12C9F2D415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04578" y="3878551"/>
            <a:ext cx="4246184" cy="418807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1350" b="0"/>
            </a:lvl1pPr>
            <a:lvl2pPr marL="171450" indent="0">
              <a:lnSpc>
                <a:spcPts val="1200"/>
              </a:lnSpc>
              <a:buNone/>
              <a:defRPr sz="1200"/>
            </a:lvl2pPr>
            <a:lvl3pPr marL="342900" indent="0">
              <a:buNone/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2">
            <a:extLst>
              <a:ext uri="{FF2B5EF4-FFF2-40B4-BE49-F238E27FC236}">
                <a16:creationId xmlns:a16="http://schemas.microsoft.com/office/drawing/2014/main" id="{00A9BEF6-3E1E-3D6E-ADE7-885161867C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601671" y="3552161"/>
            <a:ext cx="4249091" cy="182339"/>
          </a:xfrm>
        </p:spPr>
        <p:txBody>
          <a:bodyPr/>
          <a:lstStyle>
            <a:lvl1pPr marL="0" indent="0" algn="l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>
                <a:latin typeface="+mj-lt"/>
              </a:rPr>
              <a:t>ENTER HEADER</a:t>
            </a:r>
            <a:endParaRPr lang="en-AT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A5D4D45-161B-37FD-D064-967D7AA9B385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10847" y="3643331"/>
            <a:ext cx="648000" cy="64800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AT" dirty="0"/>
              <a:t>Ic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C36CB62-552E-A3A6-C746-BCA7969D15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7534" y="785401"/>
            <a:ext cx="1296000" cy="1296000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86B1BDE-F521-5192-ED06-864035B1478F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E0309796-E9FE-524C-9091-2ED4AD34291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FCD4E1B-44A9-8610-F0F6-8C06D2222B5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577678"/>
      </p:ext>
    </p:extLst>
  </p:cSld>
  <p:clrMapOvr>
    <a:masterClrMapping/>
  </p:clrMapOvr>
  <p:hf sldNum="0"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E831C-41B8-CC30-2198-2AD50F2F3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BBBDD8-1D33-F579-3064-996DB3308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23B383-7C99-CC02-D683-854E8AA6E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08797"/>
      </p:ext>
    </p:extLst>
  </p:cSld>
  <p:clrMapOvr>
    <a:masterClrMapping/>
  </p:clrMapOvr>
  <p:hf sldNum="0"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916F4-C38C-43B6-B235-3D502D1227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7" y="974558"/>
            <a:ext cx="5461397" cy="37105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459137-F3DC-4BFD-A914-BD2F074799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86475" y="974558"/>
            <a:ext cx="2568178" cy="371055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A4749DF-7520-4440-97E4-23F09CDEB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4E7F23-AECF-332F-5823-DC24DA7BD0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90CF6B1-B4F2-37EF-FEFD-EAAC1FF7C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32FA5D2-0225-B1D7-BD28-3ADC58C33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44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4998">
          <p15:clr>
            <a:srgbClr val="FBAE40"/>
          </p15:clr>
        </p15:guide>
        <p15:guide id="2" pos="511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79EB3B-AD57-4FF5-A996-C5EBDB21A6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200400" y="974558"/>
            <a:ext cx="5454252" cy="3710552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CBA5EB-F56B-47B9-BCFC-3B0559DDC69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9348" y="974558"/>
            <a:ext cx="2559117" cy="371055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191005-C272-4DA5-8C75-888452C14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1CBA4A-96A6-D799-00B2-BC2077150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C0B2A-A109-4234-35B8-D14607654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C87DB96-7F67-A38C-E63F-58D83302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2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560">
          <p15:clr>
            <a:srgbClr val="FBAE40"/>
          </p15:clr>
        </p15:guide>
        <p15:guide id="2" pos="26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hiftSy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8FC937-0ED5-3CDA-4DB0-A65AA1867F24}"/>
              </a:ext>
            </a:extLst>
          </p:cNvPr>
          <p:cNvSpPr/>
          <p:nvPr/>
        </p:nvSpPr>
        <p:spPr>
          <a:xfrm>
            <a:off x="0" y="0"/>
            <a:ext cx="91449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6" name="Picture 5" descr="An astronaut in space&#10;&#10;Description automatically generated">
            <a:extLst>
              <a:ext uri="{FF2B5EF4-FFF2-40B4-BE49-F238E27FC236}">
                <a16:creationId xmlns:a16="http://schemas.microsoft.com/office/drawing/2014/main" id="{95BC8E9C-9A91-C11E-E856-C882443EE5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879" y="855202"/>
            <a:ext cx="3813841" cy="46730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A591EF-1F60-E833-4584-5DB96461C20C}"/>
              </a:ext>
            </a:extLst>
          </p:cNvPr>
          <p:cNvSpPr txBox="1"/>
          <p:nvPr/>
        </p:nvSpPr>
        <p:spPr>
          <a:xfrm>
            <a:off x="5166066" y="1923678"/>
            <a:ext cx="3004737" cy="9002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dirty="0">
                <a:solidFill>
                  <a:schemeClr val="bg1"/>
                </a:solidFill>
                <a:latin typeface="Open Sans"/>
                <a:ea typeface="Open Sans"/>
                <a:cs typeface="Calibri"/>
              </a:rPr>
              <a:t>A community dedicated </a:t>
            </a:r>
            <a:br>
              <a:rPr lang="en-US" sz="1800" b="0" dirty="0">
                <a:solidFill>
                  <a:schemeClr val="bg1"/>
                </a:solidFill>
                <a:latin typeface="Open Sans"/>
                <a:ea typeface="Open Sans"/>
                <a:cs typeface="Calibri"/>
              </a:rPr>
            </a:br>
            <a:r>
              <a:rPr lang="en-US" sz="1800" b="0" dirty="0">
                <a:solidFill>
                  <a:schemeClr val="bg1"/>
                </a:solidFill>
                <a:latin typeface="Open Sans"/>
                <a:ea typeface="Open Sans"/>
                <a:cs typeface="Calibri"/>
              </a:rPr>
              <a:t>to quality engineering for quality champions</a:t>
            </a:r>
          </a:p>
        </p:txBody>
      </p:sp>
      <p:pic>
        <p:nvPicPr>
          <p:cNvPr id="8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E2EEFC8E-A171-4D00-2A10-5347C46622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38" y="465516"/>
            <a:ext cx="2702445" cy="540489"/>
          </a:xfrm>
          <a:prstGeom prst="rect">
            <a:avLst/>
          </a:prstGeom>
        </p:spPr>
      </p:pic>
      <p:pic>
        <p:nvPicPr>
          <p:cNvPr id="9" name="Picture 8" descr="A green and black qr code&#10;&#10;Description automatically generated">
            <a:extLst>
              <a:ext uri="{FF2B5EF4-FFF2-40B4-BE49-F238E27FC236}">
                <a16:creationId xmlns:a16="http://schemas.microsoft.com/office/drawing/2014/main" id="{F887EB83-1F22-5CAE-D084-516780AE0A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995" y="3245710"/>
            <a:ext cx="1111808" cy="11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217258"/>
      </p:ext>
    </p:extLst>
  </p:cSld>
  <p:clrMapOvr>
    <a:masterClrMapping/>
  </p:clrMapOvr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Q an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background with colorful shapes&#10;&#10;Description automatically generated">
            <a:extLst>
              <a:ext uri="{FF2B5EF4-FFF2-40B4-BE49-F238E27FC236}">
                <a16:creationId xmlns:a16="http://schemas.microsoft.com/office/drawing/2014/main" id="{B5610853-7AA6-AC2D-B8EB-8C005637C0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900" cy="514400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6" name="Title 12">
            <a:extLst>
              <a:ext uri="{FF2B5EF4-FFF2-40B4-BE49-F238E27FC236}">
                <a16:creationId xmlns:a16="http://schemas.microsoft.com/office/drawing/2014/main" id="{08393FC3-6CF1-BB7F-6D85-52E372CB18F8}"/>
              </a:ext>
            </a:extLst>
          </p:cNvPr>
          <p:cNvSpPr txBox="1">
            <a:spLocks/>
          </p:cNvSpPr>
          <p:nvPr/>
        </p:nvSpPr>
        <p:spPr>
          <a:xfrm>
            <a:off x="1439652" y="2733768"/>
            <a:ext cx="2592288" cy="7560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500" dirty="0"/>
              <a:t>Answers</a:t>
            </a:r>
            <a:endParaRPr lang="en-AT" sz="4500" dirty="0"/>
          </a:p>
        </p:txBody>
      </p:sp>
      <p:sp>
        <p:nvSpPr>
          <p:cNvPr id="7" name="Title 12">
            <a:extLst>
              <a:ext uri="{FF2B5EF4-FFF2-40B4-BE49-F238E27FC236}">
                <a16:creationId xmlns:a16="http://schemas.microsoft.com/office/drawing/2014/main" id="{0EB7A713-FC34-5316-B537-76C099ED49A6}"/>
              </a:ext>
            </a:extLst>
          </p:cNvPr>
          <p:cNvSpPr txBox="1">
            <a:spLocks/>
          </p:cNvSpPr>
          <p:nvPr/>
        </p:nvSpPr>
        <p:spPr>
          <a:xfrm>
            <a:off x="3869922" y="2463738"/>
            <a:ext cx="597164" cy="7560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5400" b="0" dirty="0">
                <a:latin typeface="+mn-lt"/>
              </a:rPr>
              <a:t>+</a:t>
            </a:r>
            <a:endParaRPr lang="en-AT" sz="5400" b="0" dirty="0">
              <a:latin typeface="+mn-lt"/>
            </a:endParaRPr>
          </a:p>
        </p:txBody>
      </p:sp>
      <p:sp>
        <p:nvSpPr>
          <p:cNvPr id="8" name="Title 12">
            <a:extLst>
              <a:ext uri="{FF2B5EF4-FFF2-40B4-BE49-F238E27FC236}">
                <a16:creationId xmlns:a16="http://schemas.microsoft.com/office/drawing/2014/main" id="{2606A70D-8691-2692-D141-4D0B04EC3214}"/>
              </a:ext>
            </a:extLst>
          </p:cNvPr>
          <p:cNvSpPr txBox="1">
            <a:spLocks/>
          </p:cNvSpPr>
          <p:nvPr/>
        </p:nvSpPr>
        <p:spPr>
          <a:xfrm>
            <a:off x="1004507" y="2139702"/>
            <a:ext cx="3618006" cy="9241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500" b="1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uestions</a:t>
            </a:r>
            <a:endParaRPr lang="en-AT" sz="4500" b="1" i="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D40B867-EC8A-1003-92E2-3FB6AD586C7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05941" y="2733768"/>
            <a:ext cx="1247000" cy="15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97537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background with colorful shapes&#10;&#10;Description automatically generated">
            <a:extLst>
              <a:ext uri="{FF2B5EF4-FFF2-40B4-BE49-F238E27FC236}">
                <a16:creationId xmlns:a16="http://schemas.microsoft.com/office/drawing/2014/main" id="{B5610853-7AA6-AC2D-B8EB-8C005637C0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900" cy="514400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le 12">
            <a:extLst>
              <a:ext uri="{FF2B5EF4-FFF2-40B4-BE49-F238E27FC236}">
                <a16:creationId xmlns:a16="http://schemas.microsoft.com/office/drawing/2014/main" id="{BBBAB149-E499-C983-1CE8-8E16BEF8BF56}"/>
              </a:ext>
            </a:extLst>
          </p:cNvPr>
          <p:cNvSpPr txBox="1">
            <a:spLocks/>
          </p:cNvSpPr>
          <p:nvPr/>
        </p:nvSpPr>
        <p:spPr>
          <a:xfrm>
            <a:off x="1004507" y="2139702"/>
            <a:ext cx="3618006" cy="9241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500" b="1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hank </a:t>
            </a:r>
            <a:r>
              <a:rPr lang="en-GB" sz="4500" b="1" i="0" kern="1200" dirty="0">
                <a:solidFill>
                  <a:schemeClr val="accent6"/>
                </a:solidFill>
                <a:latin typeface="+mj-lt"/>
                <a:ea typeface="+mj-ea"/>
                <a:cs typeface="+mj-cs"/>
              </a:rPr>
              <a:t>you!</a:t>
            </a:r>
            <a:endParaRPr lang="en-AT" sz="4500" b="1" i="0" kern="1200" dirty="0">
              <a:solidFill>
                <a:schemeClr val="accent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56CFD4-DD9E-8033-07AC-2245639DD5AA}"/>
              </a:ext>
            </a:extLst>
          </p:cNvPr>
          <p:cNvSpPr txBox="1"/>
          <p:nvPr/>
        </p:nvSpPr>
        <p:spPr>
          <a:xfrm>
            <a:off x="1004506" y="3737000"/>
            <a:ext cx="2919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AT" sz="1050" b="1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Follow us on social media</a:t>
            </a:r>
          </a:p>
        </p:txBody>
      </p:sp>
      <p:pic>
        <p:nvPicPr>
          <p:cNvPr id="4" name="Graphic 3">
            <a:hlinkClick r:id="rId3"/>
            <a:extLst>
              <a:ext uri="{FF2B5EF4-FFF2-40B4-BE49-F238E27FC236}">
                <a16:creationId xmlns:a16="http://schemas.microsoft.com/office/drawing/2014/main" id="{B0820430-6F86-2A82-7F1E-9040E88AC2EF}"/>
              </a:ext>
            </a:extLst>
          </p:cNvPr>
          <p:cNvPicPr>
            <a:picLocks noChangeAspect="1"/>
          </p:cNvPicPr>
          <p:nvPr/>
        </p:nvPicPr>
        <p:blipFill>
          <a:blip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0534" y="3831019"/>
            <a:ext cx="462857" cy="810000"/>
          </a:xfrm>
          <a:prstGeom prst="rect">
            <a:avLst/>
          </a:prstGeom>
        </p:spPr>
      </p:pic>
      <p:pic>
        <p:nvPicPr>
          <p:cNvPr id="9" name="Graphic 8">
            <a:hlinkClick r:id="rId5"/>
            <a:extLst>
              <a:ext uri="{FF2B5EF4-FFF2-40B4-BE49-F238E27FC236}">
                <a16:creationId xmlns:a16="http://schemas.microsoft.com/office/drawing/2014/main" id="{84684068-2C1C-6FE0-7AEC-032BB3579196}"/>
              </a:ext>
            </a:extLst>
          </p:cNvPr>
          <p:cNvPicPr>
            <a:picLocks noChangeAspect="1"/>
          </p:cNvPicPr>
          <p:nvPr/>
        </p:nvPicPr>
        <p:blipFill>
          <a:blip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17757" y="3827351"/>
            <a:ext cx="462857" cy="810000"/>
          </a:xfrm>
          <a:prstGeom prst="rect">
            <a:avLst/>
          </a:prstGeom>
        </p:spPr>
      </p:pic>
      <p:pic>
        <p:nvPicPr>
          <p:cNvPr id="10" name="Graphic 9">
            <a:hlinkClick r:id="rId7"/>
            <a:extLst>
              <a:ext uri="{FF2B5EF4-FFF2-40B4-BE49-F238E27FC236}">
                <a16:creationId xmlns:a16="http://schemas.microsoft.com/office/drawing/2014/main" id="{2A412325-F22F-1DCC-42E2-88F5C639AB7F}"/>
              </a:ext>
            </a:extLst>
          </p:cNvPr>
          <p:cNvPicPr>
            <a:picLocks noChangeAspect="1"/>
          </p:cNvPicPr>
          <p:nvPr/>
        </p:nvPicPr>
        <p:blipFill>
          <a:blip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4900" y="3827351"/>
            <a:ext cx="462857" cy="810000"/>
          </a:xfrm>
          <a:prstGeom prst="rect">
            <a:avLst/>
          </a:prstGeom>
        </p:spPr>
      </p:pic>
      <p:pic>
        <p:nvPicPr>
          <p:cNvPr id="11" name="Graphic 10">
            <a:hlinkClick r:id="rId9"/>
            <a:extLst>
              <a:ext uri="{FF2B5EF4-FFF2-40B4-BE49-F238E27FC236}">
                <a16:creationId xmlns:a16="http://schemas.microsoft.com/office/drawing/2014/main" id="{C045C1FC-999C-F6D6-4580-4780A37E4DF7}"/>
              </a:ext>
            </a:extLst>
          </p:cNvPr>
          <p:cNvPicPr>
            <a:picLocks noChangeAspect="1"/>
          </p:cNvPicPr>
          <p:nvPr/>
        </p:nvPicPr>
        <p:blipFill>
          <a:blip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53636" y="3831019"/>
            <a:ext cx="462857" cy="810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7C4F107-99E4-2497-948C-6ED960D3872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05941" y="2733768"/>
            <a:ext cx="1247000" cy="15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820548"/>
      </p:ext>
    </p:extLst>
  </p:cSld>
  <p:clrMapOvr>
    <a:masterClrMapping/>
  </p:clrMapOvr>
  <p:hf sldNum="0"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~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C1E3B62-6B93-4CD8-A0FD-73045DF01E3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dirty="0">
                <a:latin typeface="+mj-lt"/>
              </a:rPr>
              <a:t>Do Not Use Slide Layouts After This</a:t>
            </a:r>
          </a:p>
        </p:txBody>
      </p:sp>
    </p:spTree>
    <p:extLst>
      <p:ext uri="{BB962C8B-B14F-4D97-AF65-F5344CB8AC3E}">
        <p14:creationId xmlns:p14="http://schemas.microsoft.com/office/powerpoint/2010/main" val="228603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28233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339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F83A3037-40FF-D749-893A-32B81E778FBE}"/>
              </a:ext>
            </a:extLst>
          </p:cNvPr>
          <p:cNvSpPr/>
          <p:nvPr/>
        </p:nvSpPr>
        <p:spPr>
          <a:xfrm>
            <a:off x="662958" y="1592304"/>
            <a:ext cx="1780043" cy="2604304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0B85AD"/>
              </a:gs>
              <a:gs pos="0">
                <a:srgbClr val="289DC0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9EA09B-AFFE-EF42-A02F-E941C0848113}"/>
              </a:ext>
            </a:extLst>
          </p:cNvPr>
          <p:cNvSpPr/>
          <p:nvPr/>
        </p:nvSpPr>
        <p:spPr>
          <a:xfrm>
            <a:off x="2676181" y="1592304"/>
            <a:ext cx="1780043" cy="2604304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76BA3"/>
              </a:gs>
              <a:gs pos="0">
                <a:srgbClr val="0B7EAA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7DFDAED-D08F-F044-8286-4790CEB39B0E}"/>
              </a:ext>
            </a:extLst>
          </p:cNvPr>
          <p:cNvSpPr/>
          <p:nvPr/>
        </p:nvSpPr>
        <p:spPr>
          <a:xfrm>
            <a:off x="4689406" y="1592304"/>
            <a:ext cx="1780043" cy="2604304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4539A"/>
              </a:gs>
              <a:gs pos="0">
                <a:srgbClr val="0465A1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A2E133-E99A-5148-869C-8056287B2F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58760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C3E552F-78B9-D64A-9435-806AE4250D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31583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834513F-56E5-8A43-918F-DD6D7E1A9D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51849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04EFD1-6C62-BE4F-B1EA-893286ACED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3563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AF0469C-0FEA-4843-8C5A-2B65AFAA5A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6386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25BC17E-7677-FF4D-938D-39814829E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08275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B645F334-4A24-1F47-BA95-8BD0C83274F9}"/>
              </a:ext>
            </a:extLst>
          </p:cNvPr>
          <p:cNvSpPr/>
          <p:nvPr/>
        </p:nvSpPr>
        <p:spPr>
          <a:xfrm>
            <a:off x="6658474" y="1592304"/>
            <a:ext cx="1780043" cy="2604304"/>
          </a:xfrm>
          <a:prstGeom prst="roundRect">
            <a:avLst>
              <a:gd name="adj" fmla="val 4546"/>
            </a:avLst>
          </a:prstGeom>
          <a:gradFill>
            <a:gsLst>
              <a:gs pos="0">
                <a:srgbClr val="04539A"/>
              </a:gs>
              <a:gs pos="99000">
                <a:schemeClr val="accent2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F8C763F-6E31-3149-B148-D640775299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36528" y="1952625"/>
            <a:ext cx="1000125" cy="1000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6E4B2DD-A1B4-4945-BB42-AAEF6E7A2B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2955" y="3161109"/>
            <a:ext cx="1511084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27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8521CE-12B3-CA48-A0C1-E932EE1E8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75E31F-A63C-344A-9820-7E3CAF395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7">
            <a:extLst>
              <a:ext uri="{FF2B5EF4-FFF2-40B4-BE49-F238E27FC236}">
                <a16:creationId xmlns:a16="http://schemas.microsoft.com/office/drawing/2014/main" id="{3A9BE1AB-AE23-AD46-A670-968D431E11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06590" y="4852272"/>
            <a:ext cx="2057400" cy="273844"/>
          </a:xfrm>
        </p:spPr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Title 14">
            <a:extLst>
              <a:ext uri="{FF2B5EF4-FFF2-40B4-BE49-F238E27FC236}">
                <a16:creationId xmlns:a16="http://schemas.microsoft.com/office/drawing/2014/main" id="{38E540DA-925C-A547-9401-CFF0ABD7D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98" y="1698153"/>
            <a:ext cx="3570779" cy="87359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DF2EFC1F-502A-2745-8672-128F3E5FE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854" y="2800351"/>
            <a:ext cx="3596878" cy="565547"/>
          </a:xfrm>
        </p:spPr>
        <p:txBody>
          <a:bodyPr rIns="0">
            <a:normAutofit/>
          </a:bodyPr>
          <a:lstStyle>
            <a:lvl1pPr marL="0" indent="0">
              <a:buNone/>
              <a:defRPr sz="1800"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244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7CCB54-A390-8146-AAE5-F5043FC38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018" y="2317680"/>
            <a:ext cx="1510086" cy="1247878"/>
          </a:xfrm>
        </p:spPr>
        <p:txBody>
          <a:bodyPr rIns="0">
            <a:normAutofit/>
          </a:bodyPr>
          <a:lstStyle>
            <a:lvl1pPr marL="0" indent="0">
              <a:spcBef>
                <a:spcPts val="1200"/>
              </a:spcBef>
              <a:buNone/>
              <a:defRPr sz="21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812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29854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8883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513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F83A3037-40FF-D749-893A-32B81E778FBE}"/>
              </a:ext>
            </a:extLst>
          </p:cNvPr>
          <p:cNvSpPr/>
          <p:nvPr/>
        </p:nvSpPr>
        <p:spPr>
          <a:xfrm>
            <a:off x="590766" y="2079583"/>
            <a:ext cx="1535031" cy="1443362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0B85AD"/>
              </a:gs>
              <a:gs pos="0">
                <a:srgbClr val="289DC0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9EA09B-AFFE-EF42-A02F-E941C0848113}"/>
              </a:ext>
            </a:extLst>
          </p:cNvPr>
          <p:cNvSpPr/>
          <p:nvPr/>
        </p:nvSpPr>
        <p:spPr>
          <a:xfrm>
            <a:off x="2206133" y="2079583"/>
            <a:ext cx="1535031" cy="1443362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76BA3"/>
              </a:gs>
              <a:gs pos="0">
                <a:srgbClr val="0B7EAA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7DFDAED-D08F-F044-8286-4790CEB39B0E}"/>
              </a:ext>
            </a:extLst>
          </p:cNvPr>
          <p:cNvSpPr/>
          <p:nvPr/>
        </p:nvSpPr>
        <p:spPr>
          <a:xfrm>
            <a:off x="3813509" y="2079583"/>
            <a:ext cx="1535031" cy="1443362"/>
          </a:xfrm>
          <a:prstGeom prst="roundRect">
            <a:avLst>
              <a:gd name="adj" fmla="val 4546"/>
            </a:avLst>
          </a:prstGeom>
          <a:gradFill>
            <a:gsLst>
              <a:gs pos="99000">
                <a:srgbClr val="04539A"/>
              </a:gs>
              <a:gs pos="0">
                <a:srgbClr val="0465A1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04EFD1-6C62-BE4F-B1EA-893286ACED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371" y="2571750"/>
            <a:ext cx="1303093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AF0469C-0FEA-4843-8C5A-2B65AFAA5A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06337" y="2571750"/>
            <a:ext cx="1303093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25BC17E-7677-FF4D-938D-39814829E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2378" y="2571750"/>
            <a:ext cx="1303093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B645F334-4A24-1F47-BA95-8BD0C83274F9}"/>
              </a:ext>
            </a:extLst>
          </p:cNvPr>
          <p:cNvSpPr/>
          <p:nvPr/>
        </p:nvSpPr>
        <p:spPr>
          <a:xfrm>
            <a:off x="5418906" y="2079583"/>
            <a:ext cx="1535031" cy="1443362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10457C"/>
              </a:gs>
              <a:gs pos="0">
                <a:srgbClr val="04539A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6E4B2DD-A1B4-4945-BB42-AAEF6E7A2B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53386" y="2571750"/>
            <a:ext cx="1303093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A4C4477-C363-A896-1364-D28F20FCE454}"/>
              </a:ext>
            </a:extLst>
          </p:cNvPr>
          <p:cNvSpPr/>
          <p:nvPr/>
        </p:nvSpPr>
        <p:spPr>
          <a:xfrm>
            <a:off x="7016098" y="2079583"/>
            <a:ext cx="1535031" cy="1443362"/>
          </a:xfrm>
          <a:prstGeom prst="roundRect">
            <a:avLst>
              <a:gd name="adj" fmla="val 4546"/>
            </a:avLst>
          </a:prstGeom>
          <a:gradFill>
            <a:gsLst>
              <a:gs pos="0">
                <a:srgbClr val="10457D"/>
              </a:gs>
              <a:gs pos="99000">
                <a:schemeClr val="accent2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C161ED02-1069-85A9-B5D5-A17668A81D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50578" y="2571750"/>
            <a:ext cx="1303093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96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lumn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F83A3037-40FF-D749-893A-32B81E778FBE}"/>
              </a:ext>
            </a:extLst>
          </p:cNvPr>
          <p:cNvSpPr/>
          <p:nvPr/>
        </p:nvSpPr>
        <p:spPr>
          <a:xfrm>
            <a:off x="662958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1991B6"/>
              </a:gs>
              <a:gs pos="0">
                <a:srgbClr val="289DC0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9EA09B-AFFE-EF42-A02F-E941C0848113}"/>
              </a:ext>
            </a:extLst>
          </p:cNvPr>
          <p:cNvSpPr/>
          <p:nvPr/>
        </p:nvSpPr>
        <p:spPr>
          <a:xfrm>
            <a:off x="1985793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0">
                <a:srgbClr val="1B93B8"/>
              </a:gs>
              <a:gs pos="100000">
                <a:srgbClr val="0B7EAA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7DFDAED-D08F-F044-8286-4790CEB39B0E}"/>
              </a:ext>
            </a:extLst>
          </p:cNvPr>
          <p:cNvSpPr/>
          <p:nvPr/>
        </p:nvSpPr>
        <p:spPr>
          <a:xfrm>
            <a:off x="3308628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0">
                <a:srgbClr val="0D7FAB"/>
              </a:gs>
              <a:gs pos="100000">
                <a:srgbClr val="0465A1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B645F334-4A24-1F47-BA95-8BD0C83274F9}"/>
              </a:ext>
            </a:extLst>
          </p:cNvPr>
          <p:cNvSpPr/>
          <p:nvPr/>
        </p:nvSpPr>
        <p:spPr>
          <a:xfrm>
            <a:off x="4631463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100000">
                <a:srgbClr val="04539A"/>
              </a:gs>
              <a:gs pos="0">
                <a:srgbClr val="0667A2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8EE29210-8CF2-9B4B-ADED-664D4F2291D3}"/>
              </a:ext>
            </a:extLst>
          </p:cNvPr>
          <p:cNvSpPr/>
          <p:nvPr/>
        </p:nvSpPr>
        <p:spPr>
          <a:xfrm>
            <a:off x="5954298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0">
                <a:schemeClr val="accent1"/>
              </a:gs>
              <a:gs pos="98000">
                <a:srgbClr val="11457B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3AD3CCF1-5F96-6E4E-984A-985E4B714273}"/>
              </a:ext>
            </a:extLst>
          </p:cNvPr>
          <p:cNvSpPr/>
          <p:nvPr/>
        </p:nvSpPr>
        <p:spPr>
          <a:xfrm>
            <a:off x="7277133" y="1592304"/>
            <a:ext cx="1203909" cy="2604304"/>
          </a:xfrm>
          <a:prstGeom prst="roundRect">
            <a:avLst>
              <a:gd name="adj" fmla="val 4546"/>
            </a:avLst>
          </a:prstGeom>
          <a:gradFill>
            <a:gsLst>
              <a:gs pos="0">
                <a:srgbClr val="094F93"/>
              </a:gs>
              <a:gs pos="99000">
                <a:schemeClr val="accent2"/>
              </a:gs>
            </a:gsLst>
            <a:lin ang="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4020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513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A2E133-E99A-5148-869C-8056287B2F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0666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04EFD1-6C62-BE4F-B1EA-893286ACED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21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9217C4C-1B58-5D4F-8AE6-ECC39F282D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168962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DD32790-94C1-424F-BA86-1CE5BB5A6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61317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EFD3EC1-2345-F042-B1DB-A8D7638C42D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08909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075E31-F1D1-9A42-B2A7-7F5C1F1A87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01264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AB45A33D-6834-BA44-9B25-570043CF6B9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817205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F2709E5-BA92-1645-8E50-5C6572CC5A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09560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503990D9-C5CB-C449-AA3D-588F5CA92E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36051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CAC3368E-DDC1-6B45-BE38-0F6AD80C0DC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28406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28B4BAB4-4703-044E-BEE3-B08277A31D5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486549" y="2058810"/>
            <a:ext cx="808493" cy="8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2EC8C136-483D-1743-8C92-92151C4A49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8904" y="3161109"/>
            <a:ext cx="1000125" cy="279514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302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26740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513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04EFD1-6C62-BE4F-B1EA-893286ACED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89952" y="2672046"/>
            <a:ext cx="1834249" cy="690280"/>
          </a:xfrm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6DA3E2-F69B-1549-BDE0-F8F08CCDA8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7780" y="1657633"/>
            <a:ext cx="1826420" cy="10144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 i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sz="495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0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7FB38F1-87FC-EC4C-9FB6-5B77DCB16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58791" y="1657350"/>
            <a:ext cx="1826419" cy="1014413"/>
          </a:xfrm>
        </p:spPr>
        <p:txBody>
          <a:bodyPr anchor="ctr">
            <a:noAutofit/>
          </a:bodyPr>
          <a:lstStyle>
            <a:lvl1pPr>
              <a:defRPr lang="en-US" sz="4950" b="1" i="0" kern="12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1163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hite w/separa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19120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39513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3194389-11EC-1A47-8248-B34FB325A751}"/>
              </a:ext>
            </a:extLst>
          </p:cNvPr>
          <p:cNvGrpSpPr/>
          <p:nvPr/>
        </p:nvGrpSpPr>
        <p:grpSpPr>
          <a:xfrm>
            <a:off x="3254444" y="1926986"/>
            <a:ext cx="2635110" cy="2082800"/>
            <a:chOff x="4606699" y="2071445"/>
            <a:chExt cx="3513480" cy="2539855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64E9EB4-7946-D24F-AED9-AC5B6854738C}"/>
                </a:ext>
              </a:extLst>
            </p:cNvPr>
            <p:cNvCxnSpPr/>
            <p:nvPr/>
          </p:nvCxnSpPr>
          <p:spPr>
            <a:xfrm>
              <a:off x="4606699" y="2071445"/>
              <a:ext cx="0" cy="2539855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D1DC92B-B223-5C4A-8233-95229169A53F}"/>
                </a:ext>
              </a:extLst>
            </p:cNvPr>
            <p:cNvCxnSpPr/>
            <p:nvPr/>
          </p:nvCxnSpPr>
          <p:spPr>
            <a:xfrm>
              <a:off x="8120179" y="2071445"/>
              <a:ext cx="0" cy="2539855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ECC887-46B8-DD40-9EE7-422836B36F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7425" y="4457700"/>
            <a:ext cx="4629150" cy="200025"/>
          </a:xfrm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5785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163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white w/separa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6605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996688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64E9EB4-7946-D24F-AED9-AC5B6854738C}"/>
              </a:ext>
            </a:extLst>
          </p:cNvPr>
          <p:cNvCxnSpPr/>
          <p:nvPr/>
        </p:nvCxnSpPr>
        <p:spPr>
          <a:xfrm>
            <a:off x="2622083" y="1943100"/>
            <a:ext cx="0" cy="20828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D1DC92B-B223-5C4A-8233-95229169A53F}"/>
              </a:ext>
            </a:extLst>
          </p:cNvPr>
          <p:cNvCxnSpPr/>
          <p:nvPr/>
        </p:nvCxnSpPr>
        <p:spPr>
          <a:xfrm>
            <a:off x="4570515" y="1943100"/>
            <a:ext cx="0" cy="20828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ECC887-46B8-DD40-9EE7-422836B36F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7425" y="4457700"/>
            <a:ext cx="4629150" cy="200025"/>
          </a:xfrm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179EABC-5138-3A48-A5E4-B06199296D58}"/>
              </a:ext>
            </a:extLst>
          </p:cNvPr>
          <p:cNvCxnSpPr/>
          <p:nvPr/>
        </p:nvCxnSpPr>
        <p:spPr>
          <a:xfrm>
            <a:off x="6518947" y="1943100"/>
            <a:ext cx="0" cy="20828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36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163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white w/separa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6605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996688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ECC887-46B8-DD40-9EE7-422836B36F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7425" y="4457700"/>
            <a:ext cx="4629150" cy="200025"/>
          </a:xfrm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DF3C6D-6627-8F4D-84E9-A66AC5D0EBD1}"/>
              </a:ext>
            </a:extLst>
          </p:cNvPr>
          <p:cNvCxnSpPr/>
          <p:nvPr/>
        </p:nvCxnSpPr>
        <p:spPr>
          <a:xfrm>
            <a:off x="2010683" y="1953482"/>
            <a:ext cx="0" cy="2162984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DBBFE5-4050-144E-96E1-3A4F1D09F614}"/>
              </a:ext>
            </a:extLst>
          </p:cNvPr>
          <p:cNvCxnSpPr/>
          <p:nvPr/>
        </p:nvCxnSpPr>
        <p:spPr>
          <a:xfrm>
            <a:off x="3688897" y="1953482"/>
            <a:ext cx="0" cy="2162984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6E5F9D-894A-A147-B818-933FC7C69E95}"/>
              </a:ext>
            </a:extLst>
          </p:cNvPr>
          <p:cNvCxnSpPr/>
          <p:nvPr/>
        </p:nvCxnSpPr>
        <p:spPr>
          <a:xfrm>
            <a:off x="5367111" y="1953482"/>
            <a:ext cx="0" cy="2162984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06E7E4-53D0-4D40-BDE2-F07BE58241E7}"/>
              </a:ext>
            </a:extLst>
          </p:cNvPr>
          <p:cNvCxnSpPr/>
          <p:nvPr/>
        </p:nvCxnSpPr>
        <p:spPr>
          <a:xfrm>
            <a:off x="7045325" y="1953482"/>
            <a:ext cx="0" cy="2162984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83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163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hasis sentence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33B3E-BE00-734C-91BC-2A30271AD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069009"/>
            <a:ext cx="7886700" cy="1005483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05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72A71-E6EF-624C-A7AA-D4FE24DC5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Ins="0"/>
          <a:lstStyle/>
          <a:p>
            <a:r>
              <a:rPr lang="en-US"/>
              <a:t>Name of Clien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82C3A0-A25C-6E43-B65D-B7AB47EE647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650" y="87831"/>
            <a:ext cx="2835519" cy="509588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52A005-FE29-3E43-AA5C-6EA064ABA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1049215"/>
            <a:ext cx="7886700" cy="184547"/>
          </a:xfrm>
        </p:spPr>
        <p:txBody>
          <a:bodyPr rIns="0"/>
          <a:lstStyle>
            <a:lvl1pPr marL="0" indent="0"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Use case subtitle</a:t>
            </a:r>
          </a:p>
        </p:txBody>
      </p:sp>
    </p:spTree>
    <p:extLst>
      <p:ext uri="{BB962C8B-B14F-4D97-AF65-F5344CB8AC3E}">
        <p14:creationId xmlns:p14="http://schemas.microsoft.com/office/powerpoint/2010/main" val="144038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0015FFA-73EC-CC4D-ABC1-E302C38FA3A9}"/>
              </a:ext>
            </a:extLst>
          </p:cNvPr>
          <p:cNvSpPr/>
          <p:nvPr/>
        </p:nvSpPr>
        <p:spPr>
          <a:xfrm>
            <a:off x="0" y="0"/>
            <a:ext cx="9144000" cy="483965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98594C-009F-554D-81FE-4FB7CE711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219" y="303850"/>
            <a:ext cx="2381055" cy="4917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BD07FD-E153-F94A-88C6-1CC006D89AD7}"/>
              </a:ext>
            </a:extLst>
          </p:cNvPr>
          <p:cNvSpPr txBox="1"/>
          <p:nvPr/>
        </p:nvSpPr>
        <p:spPr>
          <a:xfrm>
            <a:off x="349219" y="985969"/>
            <a:ext cx="4329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GLOBAL LEADER IN CONTINUOUS TEST AUTOM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D5C314-3E99-8243-B8AB-109A57EFFB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679" y="-2044660"/>
            <a:ext cx="11349758" cy="81866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D74C11-2D70-E04A-BD1F-07E2CC87CF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5877" y="-989342"/>
            <a:ext cx="4219504" cy="6818334"/>
          </a:xfrm>
          <a:prstGeom prst="rect">
            <a:avLst/>
          </a:prstGeom>
          <a:effectLst>
            <a:outerShdw blurRad="395014" dir="10800000" algn="r" rotWithShape="0">
              <a:schemeClr val="accent2">
                <a:lumMod val="50000"/>
                <a:alpha val="63000"/>
              </a:scheme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76E0380-0BD9-0047-963B-D22FFD2484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839649"/>
            <a:ext cx="9144000" cy="30385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FC89EA0-7F85-AC40-B5B2-7205E2D40699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6B860751-0187-5043-B9C2-889CE6C71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98" y="1698153"/>
            <a:ext cx="3570779" cy="87359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F4B38DB-844E-CA44-8C8A-0BD2D53B52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854" y="2800351"/>
            <a:ext cx="3596878" cy="565547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5EACEAE3-0C2E-2A44-A250-6FB06BE3AB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55B201D-0FAC-F445-8D78-FA67471082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0507" y="-751416"/>
            <a:ext cx="3725563" cy="63424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42DEAE-49A2-2E4C-9057-1ACE9B2A1D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1599" y="2577770"/>
            <a:ext cx="1576388" cy="157638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12ED4D5F-E900-634F-9450-A8FD3F4CD01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58473" y="1390747"/>
            <a:ext cx="1088861" cy="21777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251D8FB-A93F-5346-8241-52110DF6F9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3343" y="1093420"/>
            <a:ext cx="1379876" cy="137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91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235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6605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982477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B406863-7CFB-3E43-A6C1-985F1A88F7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0075" y="2412620"/>
            <a:ext cx="3971925" cy="1963340"/>
          </a:xfrm>
        </p:spPr>
        <p:txBody>
          <a:bodyPr r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00FB6BF-98E9-7C46-AAAF-45A182F97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075" y="1373225"/>
            <a:ext cx="3971925" cy="326948"/>
          </a:xfrm>
        </p:spPr>
        <p:txBody>
          <a:bodyPr rIns="0"/>
          <a:lstStyle>
            <a:lvl1pPr marL="0" indent="0">
              <a:spcAft>
                <a:spcPts val="450"/>
              </a:spcAft>
              <a:buNone/>
              <a:defRPr sz="1350" b="0" i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Aft>
                <a:spcPts val="450"/>
              </a:spcAft>
              <a:defRPr/>
            </a:lvl2pPr>
          </a:lstStyle>
          <a:p>
            <a:pPr lvl="0"/>
            <a:r>
              <a:rPr lang="en-US" err="1"/>
              <a:t>Tricentis</a:t>
            </a:r>
            <a:r>
              <a:rPr lang="en-US"/>
              <a:t> Capabiliti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0D002A5C-5EC1-AC43-8238-28D750FA59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4875" y="1371600"/>
            <a:ext cx="3798278" cy="326948"/>
          </a:xfrm>
        </p:spPr>
        <p:txBody>
          <a:bodyPr rIns="0">
            <a:noAutofit/>
          </a:bodyPr>
          <a:lstStyle>
            <a:lvl1pPr marL="0" indent="0">
              <a:spcAft>
                <a:spcPts val="450"/>
              </a:spcAft>
              <a:buNone/>
              <a:defRPr sz="1350" b="0" i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Aft>
                <a:spcPts val="450"/>
              </a:spcAft>
              <a:defRPr/>
            </a:lvl2pPr>
          </a:lstStyle>
          <a:p>
            <a:pPr lvl="0"/>
            <a:r>
              <a:rPr lang="en-US"/>
              <a:t>Traditional testing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4B2DC91-DB6A-DB4F-AE1E-A3529F804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1469" y="2409092"/>
            <a:ext cx="3798278" cy="326948"/>
          </a:xfrm>
        </p:spPr>
        <p:txBody>
          <a:bodyPr rIns="0">
            <a:noAutofit/>
          </a:bodyPr>
          <a:lstStyle>
            <a:lvl1pPr marL="0" indent="0">
              <a:spcAft>
                <a:spcPts val="450"/>
              </a:spcAft>
              <a:buNone/>
              <a:defRPr sz="1350" b="0" i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Aft>
                <a:spcPts val="450"/>
              </a:spcAft>
              <a:defRPr/>
            </a:lvl2pPr>
          </a:lstStyle>
          <a:p>
            <a:pPr lvl="0"/>
            <a:r>
              <a:rPr lang="en-US" err="1"/>
              <a:t>Tricentis</a:t>
            </a:r>
            <a:r>
              <a:rPr lang="en-US"/>
              <a:t> customer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7A63BE4-C7A0-6E41-862E-41188CB794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9880" y="4502562"/>
            <a:ext cx="3920728" cy="200025"/>
          </a:xfrm>
        </p:spPr>
        <p:txBody>
          <a:bodyPr>
            <a:noAutofit/>
          </a:bodyPr>
          <a:lstStyle>
            <a:lvl1pPr marL="0" indent="0" algn="ctr">
              <a:buNone/>
              <a:defRPr sz="12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916F9CDF-2D83-DC44-8E94-A4A9DC35DF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517607" y="4386262"/>
            <a:ext cx="997744" cy="2714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roduct logo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4290A-EC03-3F4F-976A-A8186A407B9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0075" y="1700173"/>
            <a:ext cx="3971925" cy="654407"/>
          </a:xfrm>
        </p:spPr>
        <p:txBody>
          <a:bodyPr rIns="0">
            <a:normAutofit/>
          </a:bodyPr>
          <a:lstStyle>
            <a:lvl1pPr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B7443946-B4DA-584D-9654-7C398894F8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1469" y="1691297"/>
            <a:ext cx="3804872" cy="654407"/>
          </a:xfrm>
        </p:spPr>
        <p:txBody>
          <a:bodyPr rIns="0">
            <a:normAutofit/>
          </a:bodyPr>
          <a:lstStyle>
            <a:lvl1pPr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E4848CBC-CE07-5849-B4C0-7885DB9855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14875" y="2700871"/>
            <a:ext cx="3804872" cy="1675089"/>
          </a:xfrm>
        </p:spPr>
        <p:txBody>
          <a:bodyPr rIns="0">
            <a:normAutofit/>
          </a:bodyPr>
          <a:lstStyle>
            <a:lvl1pPr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566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Featu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A9AC0-28E5-8746-AFF0-6FF79B1EE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5887A4-470A-C348-B185-D49D4BBDF7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6EE82A-C067-B04D-8B92-AC801878873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8651" y="1135856"/>
            <a:ext cx="5307806" cy="3568304"/>
          </a:xfrm>
        </p:spPr>
        <p:txBody>
          <a:bodyPr rIns="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3782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Ligh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951C5-F312-554A-BCE8-A3B27D456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675084"/>
            <a:ext cx="3708812" cy="741049"/>
          </a:xfrm>
        </p:spPr>
        <p:txBody>
          <a:bodyPr r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4F238C-D27E-9848-A4DF-C349AB34D2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1" y="1612107"/>
            <a:ext cx="3708797" cy="2065735"/>
          </a:xfrm>
        </p:spPr>
        <p:txBody>
          <a:bodyPr rIns="0"/>
          <a:lstStyle>
            <a:lvl1pPr marL="0" indent="0"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6" y="-66993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</p:spTree>
    <p:extLst>
      <p:ext uri="{BB962C8B-B14F-4D97-AF65-F5344CB8AC3E}">
        <p14:creationId xmlns:p14="http://schemas.microsoft.com/office/powerpoint/2010/main" val="336618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1" y="-15958"/>
            <a:ext cx="4571999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pic>
        <p:nvPicPr>
          <p:cNvPr id="7" name="Picture 6" descr="A picture containing blue, person, sitting, plane&#10;&#10;Description automatically generated">
            <a:extLst>
              <a:ext uri="{FF2B5EF4-FFF2-40B4-BE49-F238E27FC236}">
                <a16:creationId xmlns:a16="http://schemas.microsoft.com/office/drawing/2014/main" id="{A469CB61-7B1A-DA46-86CF-22639F74A2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" b="4245"/>
          <a:stretch/>
        </p:blipFill>
        <p:spPr>
          <a:xfrm>
            <a:off x="11396" y="-30528"/>
            <a:ext cx="4572000" cy="4865532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7" y="-67958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951C5-F312-554A-BCE8-A3B27D456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675084"/>
            <a:ext cx="3708812" cy="741049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4F238C-D27E-9848-A4DF-C349AB34D2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1" y="1612107"/>
            <a:ext cx="3708797" cy="2065735"/>
          </a:xfrm>
        </p:spPr>
        <p:txBody>
          <a:bodyPr rIns="0"/>
          <a:lstStyle>
            <a:lvl1pPr marL="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7DC37C6-567A-3D41-86EA-955918650C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92267" y="675085"/>
            <a:ext cx="4087415" cy="3733800"/>
          </a:xfrm>
        </p:spPr>
        <p:txBody>
          <a:bodyPr rIns="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860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Dar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1" y="-15958"/>
            <a:ext cx="4571999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pic>
        <p:nvPicPr>
          <p:cNvPr id="7" name="Picture 6" descr="A picture containing blue, person, sitting, plane&#10;&#10;Description automatically generated">
            <a:extLst>
              <a:ext uri="{FF2B5EF4-FFF2-40B4-BE49-F238E27FC236}">
                <a16:creationId xmlns:a16="http://schemas.microsoft.com/office/drawing/2014/main" id="{A469CB61-7B1A-DA46-86CF-22639F74A2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" b="4245"/>
          <a:stretch/>
        </p:blipFill>
        <p:spPr>
          <a:xfrm>
            <a:off x="11396" y="-30528"/>
            <a:ext cx="4572000" cy="48655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5951C5-F312-554A-BCE8-A3B27D456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675084"/>
            <a:ext cx="3708812" cy="741049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4F238C-D27E-9848-A4DF-C349AB34D2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1" y="1612107"/>
            <a:ext cx="3708797" cy="2065735"/>
          </a:xfrm>
        </p:spPr>
        <p:txBody>
          <a:bodyPr rIns="0"/>
          <a:lstStyle>
            <a:lvl1pPr marL="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0E32CB-BB24-0B46-B788-D151E267EDB1}"/>
              </a:ext>
            </a:extLst>
          </p:cNvPr>
          <p:cNvSpPr/>
          <p:nvPr/>
        </p:nvSpPr>
        <p:spPr>
          <a:xfrm>
            <a:off x="-11516" y="-45098"/>
            <a:ext cx="4572000" cy="4842587"/>
          </a:xfrm>
          <a:prstGeom prst="rect">
            <a:avLst/>
          </a:prstGeom>
          <a:solidFill>
            <a:srgbClr val="1832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6E1C8568-1154-ED43-8B82-054FEA0996C1}"/>
              </a:ext>
            </a:extLst>
          </p:cNvPr>
          <p:cNvSpPr/>
          <p:nvPr/>
        </p:nvSpPr>
        <p:spPr>
          <a:xfrm>
            <a:off x="11396" y="2098591"/>
            <a:ext cx="2739432" cy="2728037"/>
          </a:xfrm>
          <a:prstGeom prst="rtTriangle">
            <a:avLst/>
          </a:prstGeom>
          <a:solidFill>
            <a:srgbClr val="172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B829FB92-F498-9640-9000-2B5341D51F19}"/>
              </a:ext>
            </a:extLst>
          </p:cNvPr>
          <p:cNvSpPr/>
          <p:nvPr/>
        </p:nvSpPr>
        <p:spPr>
          <a:xfrm flipH="1">
            <a:off x="1552576" y="1957367"/>
            <a:ext cx="2983706" cy="2888563"/>
          </a:xfrm>
          <a:prstGeom prst="rtTriangle">
            <a:avLst/>
          </a:prstGeom>
          <a:solidFill>
            <a:srgbClr val="172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4" name="Right Triangle 7">
            <a:extLst>
              <a:ext uri="{FF2B5EF4-FFF2-40B4-BE49-F238E27FC236}">
                <a16:creationId xmlns:a16="http://schemas.microsoft.com/office/drawing/2014/main" id="{AFB8BF7D-842E-F84F-BA70-09EBF0A9222A}"/>
              </a:ext>
            </a:extLst>
          </p:cNvPr>
          <p:cNvSpPr/>
          <p:nvPr/>
        </p:nvSpPr>
        <p:spPr>
          <a:xfrm rot="18934048">
            <a:off x="940128" y="-2316261"/>
            <a:ext cx="4699824" cy="4605338"/>
          </a:xfrm>
          <a:custGeom>
            <a:avLst/>
            <a:gdLst>
              <a:gd name="connsiteX0" fmla="*/ 0 w 6241594"/>
              <a:gd name="connsiteY0" fmla="*/ 6182791 h 6182791"/>
              <a:gd name="connsiteX1" fmla="*/ 0 w 6241594"/>
              <a:gd name="connsiteY1" fmla="*/ 0 h 6182791"/>
              <a:gd name="connsiteX2" fmla="*/ 6241594 w 6241594"/>
              <a:gd name="connsiteY2" fmla="*/ 6182791 h 6182791"/>
              <a:gd name="connsiteX3" fmla="*/ 0 w 6241594"/>
              <a:gd name="connsiteY3" fmla="*/ 6182791 h 6182791"/>
              <a:gd name="connsiteX0" fmla="*/ 29739 w 6271333"/>
              <a:gd name="connsiteY0" fmla="*/ 6125245 h 6125245"/>
              <a:gd name="connsiteX1" fmla="*/ 0 w 6271333"/>
              <a:gd name="connsiteY1" fmla="*/ 0 h 6125245"/>
              <a:gd name="connsiteX2" fmla="*/ 6271333 w 6271333"/>
              <a:gd name="connsiteY2" fmla="*/ 6125245 h 6125245"/>
              <a:gd name="connsiteX3" fmla="*/ 29739 w 6271333"/>
              <a:gd name="connsiteY3" fmla="*/ 6125245 h 6125245"/>
              <a:gd name="connsiteX0" fmla="*/ 29739 w 6261298"/>
              <a:gd name="connsiteY0" fmla="*/ 6125245 h 6132080"/>
              <a:gd name="connsiteX1" fmla="*/ 0 w 6261298"/>
              <a:gd name="connsiteY1" fmla="*/ 0 h 6132080"/>
              <a:gd name="connsiteX2" fmla="*/ 6261298 w 6261298"/>
              <a:gd name="connsiteY2" fmla="*/ 6132080 h 6132080"/>
              <a:gd name="connsiteX3" fmla="*/ 29739 w 6261298"/>
              <a:gd name="connsiteY3" fmla="*/ 6125245 h 6132080"/>
              <a:gd name="connsiteX0" fmla="*/ 34873 w 6266432"/>
              <a:gd name="connsiteY0" fmla="*/ 6133615 h 6140450"/>
              <a:gd name="connsiteX1" fmla="*/ 0 w 6266432"/>
              <a:gd name="connsiteY1" fmla="*/ 0 h 6140450"/>
              <a:gd name="connsiteX2" fmla="*/ 6266432 w 6266432"/>
              <a:gd name="connsiteY2" fmla="*/ 6140450 h 6140450"/>
              <a:gd name="connsiteX3" fmla="*/ 34873 w 6266432"/>
              <a:gd name="connsiteY3" fmla="*/ 6133615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66432" h="6140450">
                <a:moveTo>
                  <a:pt x="34873" y="6133615"/>
                </a:moveTo>
                <a:lnTo>
                  <a:pt x="0" y="0"/>
                </a:lnTo>
                <a:lnTo>
                  <a:pt x="6266432" y="6140450"/>
                </a:lnTo>
                <a:lnTo>
                  <a:pt x="34873" y="6133615"/>
                </a:lnTo>
                <a:close/>
              </a:path>
            </a:pathLst>
          </a:custGeom>
          <a:solidFill>
            <a:srgbClr val="172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6" y="-66993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</p:spTree>
    <p:extLst>
      <p:ext uri="{BB962C8B-B14F-4D97-AF65-F5344CB8AC3E}">
        <p14:creationId xmlns:p14="http://schemas.microsoft.com/office/powerpoint/2010/main" val="422322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0015FFA-73EC-CC4D-ABC1-E302C38FA3A9}"/>
              </a:ext>
            </a:extLst>
          </p:cNvPr>
          <p:cNvSpPr/>
          <p:nvPr/>
        </p:nvSpPr>
        <p:spPr>
          <a:xfrm>
            <a:off x="0" y="17384"/>
            <a:ext cx="9144000" cy="483965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D74C11-2D70-E04A-BD1F-07E2CC87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328423" y="134742"/>
            <a:ext cx="4219504" cy="6818334"/>
          </a:xfrm>
          <a:prstGeom prst="rect">
            <a:avLst/>
          </a:prstGeom>
          <a:effectLst>
            <a:outerShdw blurRad="395014" dir="10800000" algn="r" rotWithShape="0">
              <a:schemeClr val="accent2">
                <a:lumMod val="50000"/>
                <a:alpha val="63000"/>
              </a:schemeClr>
            </a:outerShdw>
          </a:effectLst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55B201D-0FAC-F445-8D78-FA67471082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575393" y="2019180"/>
            <a:ext cx="3725563" cy="63424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42DEAE-49A2-2E4C-9057-1ACE9B2A1D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5464492" y="3752993"/>
            <a:ext cx="1576388" cy="157638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251D8FB-A93F-5346-8241-52110DF6F9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6058298" y="-389730"/>
            <a:ext cx="1379876" cy="137987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12ED4D5F-E900-634F-9450-A8FD3F4CD01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994463" y="-549905"/>
            <a:ext cx="1088861" cy="21777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76E0380-0BD9-0047-963B-D22FFD2484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839649"/>
            <a:ext cx="9144000" cy="30385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FC89EA0-7F85-AC40-B5B2-7205E2D40699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6B860751-0187-5043-B9C2-889CE6C71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98" y="1698153"/>
            <a:ext cx="3570779" cy="873597"/>
          </a:xfrm>
        </p:spPr>
        <p:txBody>
          <a:bodyPr rIns="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F4B38DB-844E-CA44-8C8A-0BD2D53B52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854" y="2581036"/>
            <a:ext cx="3596878" cy="565547"/>
          </a:xfrm>
        </p:spPr>
        <p:txBody>
          <a:bodyPr rIns="0">
            <a:normAutofit/>
          </a:bodyPr>
          <a:lstStyle>
            <a:lvl1pPr marL="0" indent="0">
              <a:buNone/>
              <a:defRPr sz="1800"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5EACEAE3-0C2E-2A44-A250-6FB06BE3AB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6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son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9967214-3D07-7246-912D-BA98C3147173}"/>
              </a:ext>
            </a:extLst>
          </p:cNvPr>
          <p:cNvGrpSpPr/>
          <p:nvPr/>
        </p:nvGrpSpPr>
        <p:grpSpPr>
          <a:xfrm>
            <a:off x="629202" y="848429"/>
            <a:ext cx="267230" cy="316665"/>
            <a:chOff x="2693107" y="2162842"/>
            <a:chExt cx="719078" cy="852101"/>
          </a:xfrm>
        </p:grpSpPr>
        <p:sp>
          <p:nvSpPr>
            <p:cNvPr id="6" name="Parallelogram 11">
              <a:extLst>
                <a:ext uri="{FF2B5EF4-FFF2-40B4-BE49-F238E27FC236}">
                  <a16:creationId xmlns:a16="http://schemas.microsoft.com/office/drawing/2014/main" id="{0362CDD3-CD62-2140-BE2D-9E85CD131D09}"/>
                </a:ext>
              </a:extLst>
            </p:cNvPr>
            <p:cNvSpPr/>
            <p:nvPr/>
          </p:nvSpPr>
          <p:spPr>
            <a:xfrm flipH="1">
              <a:off x="2693107" y="2162842"/>
              <a:ext cx="368546" cy="852101"/>
            </a:xfrm>
            <a:custGeom>
              <a:avLst/>
              <a:gdLst>
                <a:gd name="connsiteX0" fmla="*/ 0 w 196769"/>
                <a:gd name="connsiteY0" fmla="*/ 428263 h 428263"/>
                <a:gd name="connsiteX1" fmla="*/ 49192 w 196769"/>
                <a:gd name="connsiteY1" fmla="*/ 0 h 428263"/>
                <a:gd name="connsiteX2" fmla="*/ 196769 w 196769"/>
                <a:gd name="connsiteY2" fmla="*/ 0 h 428263"/>
                <a:gd name="connsiteX3" fmla="*/ 147577 w 196769"/>
                <a:gd name="connsiteY3" fmla="*/ 428263 h 428263"/>
                <a:gd name="connsiteX4" fmla="*/ 0 w 196769"/>
                <a:gd name="connsiteY4" fmla="*/ 428263 h 428263"/>
                <a:gd name="connsiteX0" fmla="*/ 0 w 164825"/>
                <a:gd name="connsiteY0" fmla="*/ 428263 h 428263"/>
                <a:gd name="connsiteX1" fmla="*/ 17248 w 164825"/>
                <a:gd name="connsiteY1" fmla="*/ 0 h 428263"/>
                <a:gd name="connsiteX2" fmla="*/ 164825 w 164825"/>
                <a:gd name="connsiteY2" fmla="*/ 0 h 428263"/>
                <a:gd name="connsiteX3" fmla="*/ 115633 w 164825"/>
                <a:gd name="connsiteY3" fmla="*/ 428263 h 428263"/>
                <a:gd name="connsiteX4" fmla="*/ 0 w 164825"/>
                <a:gd name="connsiteY4" fmla="*/ 428263 h 428263"/>
                <a:gd name="connsiteX0" fmla="*/ 0 w 180797"/>
                <a:gd name="connsiteY0" fmla="*/ 432256 h 432256"/>
                <a:gd name="connsiteX1" fmla="*/ 33220 w 180797"/>
                <a:gd name="connsiteY1" fmla="*/ 0 h 432256"/>
                <a:gd name="connsiteX2" fmla="*/ 180797 w 180797"/>
                <a:gd name="connsiteY2" fmla="*/ 0 h 432256"/>
                <a:gd name="connsiteX3" fmla="*/ 131605 w 180797"/>
                <a:gd name="connsiteY3" fmla="*/ 428263 h 432256"/>
                <a:gd name="connsiteX4" fmla="*/ 0 w 180797"/>
                <a:gd name="connsiteY4" fmla="*/ 432256 h 432256"/>
                <a:gd name="connsiteX0" fmla="*/ 0 w 180797"/>
                <a:gd name="connsiteY0" fmla="*/ 432256 h 432256"/>
                <a:gd name="connsiteX1" fmla="*/ 33220 w 180797"/>
                <a:gd name="connsiteY1" fmla="*/ 0 h 432256"/>
                <a:gd name="connsiteX2" fmla="*/ 180797 w 180797"/>
                <a:gd name="connsiteY2" fmla="*/ 0 h 432256"/>
                <a:gd name="connsiteX3" fmla="*/ 95668 w 180797"/>
                <a:gd name="connsiteY3" fmla="*/ 432256 h 432256"/>
                <a:gd name="connsiteX4" fmla="*/ 0 w 180797"/>
                <a:gd name="connsiteY4" fmla="*/ 432256 h 43225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16798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0126 w 253118"/>
                <a:gd name="connsiteY3" fmla="*/ 437602 h 438796"/>
                <a:gd name="connsiteX4" fmla="*/ 0 w 253118"/>
                <a:gd name="connsiteY4" fmla="*/ 438796 h 438796"/>
                <a:gd name="connsiteX0" fmla="*/ 0 w 253118"/>
                <a:gd name="connsiteY0" fmla="*/ 438796 h 438939"/>
                <a:gd name="connsiteX1" fmla="*/ 105541 w 253118"/>
                <a:gd name="connsiteY1" fmla="*/ 0 h 438939"/>
                <a:gd name="connsiteX2" fmla="*/ 253118 w 253118"/>
                <a:gd name="connsiteY2" fmla="*/ 0 h 438939"/>
                <a:gd name="connsiteX3" fmla="*/ 97517 w 253118"/>
                <a:gd name="connsiteY3" fmla="*/ 438939 h 438939"/>
                <a:gd name="connsiteX4" fmla="*/ 0 w 253118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85" h="438939">
                  <a:moveTo>
                    <a:pt x="0" y="438796"/>
                  </a:moveTo>
                  <a:cubicBezTo>
                    <a:pt x="74443" y="225941"/>
                    <a:pt x="81447" y="150275"/>
                    <a:pt x="92608" y="0"/>
                  </a:cubicBezTo>
                  <a:lnTo>
                    <a:pt x="240185" y="0"/>
                  </a:lnTo>
                  <a:cubicBezTo>
                    <a:pt x="209873" y="161460"/>
                    <a:pt x="183522" y="271368"/>
                    <a:pt x="84584" y="438939"/>
                  </a:cubicBezTo>
                  <a:lnTo>
                    <a:pt x="0" y="4387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7" name="Parallelogram 11">
              <a:extLst>
                <a:ext uri="{FF2B5EF4-FFF2-40B4-BE49-F238E27FC236}">
                  <a16:creationId xmlns:a16="http://schemas.microsoft.com/office/drawing/2014/main" id="{E835A15E-DE53-E24F-83CC-031CB1F0E9F6}"/>
                </a:ext>
              </a:extLst>
            </p:cNvPr>
            <p:cNvSpPr/>
            <p:nvPr/>
          </p:nvSpPr>
          <p:spPr>
            <a:xfrm flipH="1">
              <a:off x="3043639" y="2162842"/>
              <a:ext cx="368546" cy="852101"/>
            </a:xfrm>
            <a:custGeom>
              <a:avLst/>
              <a:gdLst>
                <a:gd name="connsiteX0" fmla="*/ 0 w 196769"/>
                <a:gd name="connsiteY0" fmla="*/ 428263 h 428263"/>
                <a:gd name="connsiteX1" fmla="*/ 49192 w 196769"/>
                <a:gd name="connsiteY1" fmla="*/ 0 h 428263"/>
                <a:gd name="connsiteX2" fmla="*/ 196769 w 196769"/>
                <a:gd name="connsiteY2" fmla="*/ 0 h 428263"/>
                <a:gd name="connsiteX3" fmla="*/ 147577 w 196769"/>
                <a:gd name="connsiteY3" fmla="*/ 428263 h 428263"/>
                <a:gd name="connsiteX4" fmla="*/ 0 w 196769"/>
                <a:gd name="connsiteY4" fmla="*/ 428263 h 428263"/>
                <a:gd name="connsiteX0" fmla="*/ 0 w 164825"/>
                <a:gd name="connsiteY0" fmla="*/ 428263 h 428263"/>
                <a:gd name="connsiteX1" fmla="*/ 17248 w 164825"/>
                <a:gd name="connsiteY1" fmla="*/ 0 h 428263"/>
                <a:gd name="connsiteX2" fmla="*/ 164825 w 164825"/>
                <a:gd name="connsiteY2" fmla="*/ 0 h 428263"/>
                <a:gd name="connsiteX3" fmla="*/ 115633 w 164825"/>
                <a:gd name="connsiteY3" fmla="*/ 428263 h 428263"/>
                <a:gd name="connsiteX4" fmla="*/ 0 w 164825"/>
                <a:gd name="connsiteY4" fmla="*/ 428263 h 428263"/>
                <a:gd name="connsiteX0" fmla="*/ 0 w 180797"/>
                <a:gd name="connsiteY0" fmla="*/ 432256 h 432256"/>
                <a:gd name="connsiteX1" fmla="*/ 33220 w 180797"/>
                <a:gd name="connsiteY1" fmla="*/ 0 h 432256"/>
                <a:gd name="connsiteX2" fmla="*/ 180797 w 180797"/>
                <a:gd name="connsiteY2" fmla="*/ 0 h 432256"/>
                <a:gd name="connsiteX3" fmla="*/ 131605 w 180797"/>
                <a:gd name="connsiteY3" fmla="*/ 428263 h 432256"/>
                <a:gd name="connsiteX4" fmla="*/ 0 w 180797"/>
                <a:gd name="connsiteY4" fmla="*/ 432256 h 432256"/>
                <a:gd name="connsiteX0" fmla="*/ 0 w 180797"/>
                <a:gd name="connsiteY0" fmla="*/ 432256 h 432256"/>
                <a:gd name="connsiteX1" fmla="*/ 33220 w 180797"/>
                <a:gd name="connsiteY1" fmla="*/ 0 h 432256"/>
                <a:gd name="connsiteX2" fmla="*/ 180797 w 180797"/>
                <a:gd name="connsiteY2" fmla="*/ 0 h 432256"/>
                <a:gd name="connsiteX3" fmla="*/ 95668 w 180797"/>
                <a:gd name="connsiteY3" fmla="*/ 432256 h 432256"/>
                <a:gd name="connsiteX4" fmla="*/ 0 w 180797"/>
                <a:gd name="connsiteY4" fmla="*/ 432256 h 43225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16798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5669 w 253118"/>
                <a:gd name="connsiteY3" fmla="*/ 432256 h 438796"/>
                <a:gd name="connsiteX4" fmla="*/ 0 w 253118"/>
                <a:gd name="connsiteY4" fmla="*/ 438796 h 438796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44285"/>
                <a:gd name="connsiteX1" fmla="*/ 105541 w 253118"/>
                <a:gd name="connsiteY1" fmla="*/ 0 h 444285"/>
                <a:gd name="connsiteX2" fmla="*/ 253118 w 253118"/>
                <a:gd name="connsiteY2" fmla="*/ 0 h 444285"/>
                <a:gd name="connsiteX3" fmla="*/ 95669 w 253118"/>
                <a:gd name="connsiteY3" fmla="*/ 444285 h 444285"/>
                <a:gd name="connsiteX4" fmla="*/ 0 w 253118"/>
                <a:gd name="connsiteY4" fmla="*/ 438796 h 444285"/>
                <a:gd name="connsiteX0" fmla="*/ 0 w 253118"/>
                <a:gd name="connsiteY0" fmla="*/ 438796 h 438796"/>
                <a:gd name="connsiteX1" fmla="*/ 105541 w 253118"/>
                <a:gd name="connsiteY1" fmla="*/ 0 h 438796"/>
                <a:gd name="connsiteX2" fmla="*/ 253118 w 253118"/>
                <a:gd name="connsiteY2" fmla="*/ 0 h 438796"/>
                <a:gd name="connsiteX3" fmla="*/ 90126 w 253118"/>
                <a:gd name="connsiteY3" fmla="*/ 437602 h 438796"/>
                <a:gd name="connsiteX4" fmla="*/ 0 w 253118"/>
                <a:gd name="connsiteY4" fmla="*/ 438796 h 438796"/>
                <a:gd name="connsiteX0" fmla="*/ 0 w 253118"/>
                <a:gd name="connsiteY0" fmla="*/ 438796 h 438939"/>
                <a:gd name="connsiteX1" fmla="*/ 105541 w 253118"/>
                <a:gd name="connsiteY1" fmla="*/ 0 h 438939"/>
                <a:gd name="connsiteX2" fmla="*/ 253118 w 253118"/>
                <a:gd name="connsiteY2" fmla="*/ 0 h 438939"/>
                <a:gd name="connsiteX3" fmla="*/ 97517 w 253118"/>
                <a:gd name="connsiteY3" fmla="*/ 438939 h 438939"/>
                <a:gd name="connsiteX4" fmla="*/ 0 w 253118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  <a:gd name="connsiteX0" fmla="*/ 0 w 240185"/>
                <a:gd name="connsiteY0" fmla="*/ 438796 h 438939"/>
                <a:gd name="connsiteX1" fmla="*/ 92608 w 240185"/>
                <a:gd name="connsiteY1" fmla="*/ 0 h 438939"/>
                <a:gd name="connsiteX2" fmla="*/ 240185 w 240185"/>
                <a:gd name="connsiteY2" fmla="*/ 0 h 438939"/>
                <a:gd name="connsiteX3" fmla="*/ 84584 w 240185"/>
                <a:gd name="connsiteY3" fmla="*/ 438939 h 438939"/>
                <a:gd name="connsiteX4" fmla="*/ 0 w 240185"/>
                <a:gd name="connsiteY4" fmla="*/ 438796 h 438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85" h="438939">
                  <a:moveTo>
                    <a:pt x="0" y="438796"/>
                  </a:moveTo>
                  <a:cubicBezTo>
                    <a:pt x="74443" y="225941"/>
                    <a:pt x="81447" y="150275"/>
                    <a:pt x="92608" y="0"/>
                  </a:cubicBezTo>
                  <a:lnTo>
                    <a:pt x="240185" y="0"/>
                  </a:lnTo>
                  <a:cubicBezTo>
                    <a:pt x="209873" y="161460"/>
                    <a:pt x="183522" y="271368"/>
                    <a:pt x="84584" y="438939"/>
                  </a:cubicBezTo>
                  <a:lnTo>
                    <a:pt x="0" y="4387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9DF9F5D7-1E5B-AC44-9C05-D764C03A6921}"/>
              </a:ext>
            </a:extLst>
          </p:cNvPr>
          <p:cNvSpPr txBox="1">
            <a:spLocks/>
          </p:cNvSpPr>
          <p:nvPr/>
        </p:nvSpPr>
        <p:spPr>
          <a:xfrm>
            <a:off x="1086667" y="847929"/>
            <a:ext cx="5334000" cy="143070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i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ert Quote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778760-DAEE-0242-8449-4C783DA9BF31}"/>
              </a:ext>
            </a:extLst>
          </p:cNvPr>
          <p:cNvSpPr/>
          <p:nvPr/>
        </p:nvSpPr>
        <p:spPr>
          <a:xfrm>
            <a:off x="6005946" y="-15958"/>
            <a:ext cx="3138055" cy="4850963"/>
          </a:xfrm>
          <a:prstGeom prst="rect">
            <a:avLst/>
          </a:prstGeom>
          <a:gradFill>
            <a:gsLst>
              <a:gs pos="27000">
                <a:schemeClr val="accent1"/>
              </a:gs>
              <a:gs pos="100000">
                <a:schemeClr val="accent6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5B742B-BE17-764A-ADD6-7A624943A64C}"/>
              </a:ext>
            </a:extLst>
          </p:cNvPr>
          <p:cNvSpPr txBox="1"/>
          <p:nvPr/>
        </p:nvSpPr>
        <p:spPr>
          <a:xfrm>
            <a:off x="351262" y="226335"/>
            <a:ext cx="57988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AT" sz="13500" b="1">
                <a:solidFill>
                  <a:schemeClr val="accent6"/>
                </a:solidFill>
                <a:latin typeface="Open Sans Condensed" panose="020B0606030504020204" pitchFamily="34" charset="0"/>
                <a:ea typeface="Open Sans Condensed" panose="020B0606030504020204" pitchFamily="34" charset="0"/>
                <a:cs typeface="Open Sans Condensed" panose="020B0606030504020204" pitchFamily="34" charset="0"/>
              </a:rPr>
              <a:t>“</a:t>
            </a:r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7367C245-ECC7-1B4F-ABB3-69FC91C883E8}"/>
              </a:ext>
            </a:extLst>
          </p:cNvPr>
          <p:cNvSpPr/>
          <p:nvPr/>
        </p:nvSpPr>
        <p:spPr>
          <a:xfrm rot="18900000">
            <a:off x="5358033" y="-679584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23" name="Right Triangle 22">
            <a:extLst>
              <a:ext uri="{FF2B5EF4-FFF2-40B4-BE49-F238E27FC236}">
                <a16:creationId xmlns:a16="http://schemas.microsoft.com/office/drawing/2014/main" id="{22319093-3E1F-994C-ACF2-63F2E6F2DEC6}"/>
              </a:ext>
            </a:extLst>
          </p:cNvPr>
          <p:cNvSpPr/>
          <p:nvPr/>
        </p:nvSpPr>
        <p:spPr>
          <a:xfrm rot="16200000">
            <a:off x="7905261" y="3596266"/>
            <a:ext cx="1238739" cy="1238739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E62CAC5-B33D-1243-817E-EFEDBE2F64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3013" y="847929"/>
            <a:ext cx="3988424" cy="2404723"/>
          </a:xfrm>
        </p:spPr>
        <p:txBody>
          <a:bodyPr rIns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500" i="1">
                <a:solidFill>
                  <a:schemeClr val="accent1"/>
                </a:solidFill>
              </a:defRPr>
            </a:lvl1pPr>
            <a:lvl2pPr marL="342900" indent="0">
              <a:buNone/>
              <a:defRPr sz="1500" i="1">
                <a:solidFill>
                  <a:schemeClr val="accent1"/>
                </a:solidFill>
              </a:defRPr>
            </a:lvl2pPr>
            <a:lvl3pPr marL="685800" indent="0">
              <a:buNone/>
              <a:defRPr sz="1500" i="1">
                <a:solidFill>
                  <a:schemeClr val="accent1"/>
                </a:solidFill>
              </a:defRPr>
            </a:lvl3pPr>
            <a:lvl4pPr marL="1028700" indent="0">
              <a:buNone/>
              <a:defRPr sz="1500" i="1">
                <a:solidFill>
                  <a:schemeClr val="accent1"/>
                </a:solidFill>
              </a:defRPr>
            </a:lvl4pPr>
            <a:lvl5pPr marL="1371600" indent="0">
              <a:buNone/>
              <a:defRPr sz="15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.”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629EE85-54B2-BE4C-BC11-8C6798906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43014" y="3409287"/>
            <a:ext cx="2726531" cy="438150"/>
          </a:xfrm>
        </p:spPr>
        <p:txBody>
          <a:bodyPr rIns="0">
            <a:normAutofit/>
          </a:bodyPr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Name and Position at Company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6BABAD1D-F7E9-114A-9EEB-6C57D25AEB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43013" y="4004073"/>
            <a:ext cx="2726531" cy="650081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7E4066BA-2C30-A04D-B8F2-25D5C3016B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05512" y="971550"/>
            <a:ext cx="3138488" cy="3456385"/>
          </a:xfrm>
        </p:spPr>
        <p:txBody>
          <a:bodyPr/>
          <a:lstStyle/>
          <a:p>
            <a:r>
              <a:rPr lang="en-US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372222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24EBA02-D50B-184D-B8F8-0BF334295E33}"/>
              </a:ext>
            </a:extLst>
          </p:cNvPr>
          <p:cNvGrpSpPr/>
          <p:nvPr/>
        </p:nvGrpSpPr>
        <p:grpSpPr>
          <a:xfrm>
            <a:off x="486077" y="-2087351"/>
            <a:ext cx="11422076" cy="8238801"/>
            <a:chOff x="580836" y="-2795764"/>
            <a:chExt cx="15229435" cy="1098506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8322650-04AA-1E48-AA82-3B53F3FA7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80836" y="-2795764"/>
              <a:ext cx="15229435" cy="1098506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F2A56BA6-F4F3-6649-81FE-A4956AE71DF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147342" y="-1001888"/>
              <a:ext cx="4967417" cy="8456641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02F71DE-6A27-8E48-81AC-F31481E0D0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8873" y="-1038626"/>
            <a:ext cx="4216486" cy="7180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2CF2B1-5E2A-6F4E-8F40-AA44949B1B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483254"/>
            <a:ext cx="7886700" cy="296466"/>
          </a:xfrm>
        </p:spPr>
        <p:txBody>
          <a:bodyPr rIns="0"/>
          <a:lstStyle/>
          <a:p>
            <a:r>
              <a:rPr lang="en-US"/>
              <a:t>Thank you!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4056EE5F-7B74-5842-9D8D-E60B4CB47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3906064"/>
            <a:ext cx="7886700" cy="232037"/>
          </a:xfrm>
        </p:spPr>
        <p:txBody>
          <a:bodyPr rIns="0">
            <a:noAutofit/>
          </a:bodyPr>
          <a:lstStyle>
            <a:lvl1pPr marL="0" indent="0" algn="l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EA7302-ED2C-1E43-A1EE-BD60D2388A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1599" y="2577770"/>
            <a:ext cx="1576388" cy="157638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2056D0F-643F-4841-AF5A-6D632A26771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8473" y="1390747"/>
            <a:ext cx="1088861" cy="21777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73C784-87E5-8D4B-AF2F-91391AFBED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3343" y="1093420"/>
            <a:ext cx="1379876" cy="1379876"/>
          </a:xfrm>
          <a:prstGeom prst="rect">
            <a:avLst/>
          </a:prstGeom>
        </p:spPr>
      </p:pic>
      <p:grpSp>
        <p:nvGrpSpPr>
          <p:cNvPr id="16" name="Graphic 7">
            <a:extLst>
              <a:ext uri="{FF2B5EF4-FFF2-40B4-BE49-F238E27FC236}">
                <a16:creationId xmlns:a16="http://schemas.microsoft.com/office/drawing/2014/main" id="{4600DBA8-7E00-FA4D-8844-2193E880F0DD}"/>
              </a:ext>
            </a:extLst>
          </p:cNvPr>
          <p:cNvGrpSpPr/>
          <p:nvPr/>
        </p:nvGrpSpPr>
        <p:grpSpPr>
          <a:xfrm>
            <a:off x="1" y="4834889"/>
            <a:ext cx="9143999" cy="308610"/>
            <a:chOff x="0" y="6446519"/>
            <a:chExt cx="12191999" cy="411480"/>
          </a:xfrm>
          <a:solidFill>
            <a:schemeClr val="accent1"/>
          </a:solidFill>
        </p:grpSpPr>
        <p:sp>
          <p:nvSpPr>
            <p:cNvPr id="17" name="Freeform: Shape 10">
              <a:extLst>
                <a:ext uri="{FF2B5EF4-FFF2-40B4-BE49-F238E27FC236}">
                  <a16:creationId xmlns:a16="http://schemas.microsoft.com/office/drawing/2014/main" id="{CA47CEA8-8CAC-6C4C-B7FE-0A7015CCFD8E}"/>
                </a:ext>
              </a:extLst>
            </p:cNvPr>
            <p:cNvSpPr/>
            <p:nvPr/>
          </p:nvSpPr>
          <p:spPr>
            <a:xfrm>
              <a:off x="0" y="6446519"/>
              <a:ext cx="8041767" cy="411480"/>
            </a:xfrm>
            <a:custGeom>
              <a:avLst/>
              <a:gdLst>
                <a:gd name="connsiteX0" fmla="*/ 8041768 w 8041767"/>
                <a:gd name="connsiteY0" fmla="*/ 0 h 411480"/>
                <a:gd name="connsiteX1" fmla="*/ 0 w 8041767"/>
                <a:gd name="connsiteY1" fmla="*/ 0 h 411480"/>
                <a:gd name="connsiteX2" fmla="*/ 0 w 8041767"/>
                <a:gd name="connsiteY2" fmla="*/ 411480 h 411480"/>
                <a:gd name="connsiteX3" fmla="*/ 7630287 w 8041767"/>
                <a:gd name="connsiteY3" fmla="*/ 411480 h 411480"/>
                <a:gd name="connsiteX4" fmla="*/ 8041768 w 8041767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767" h="411480">
                  <a:moveTo>
                    <a:pt x="8041768" y="0"/>
                  </a:moveTo>
                  <a:lnTo>
                    <a:pt x="0" y="0"/>
                  </a:lnTo>
                  <a:lnTo>
                    <a:pt x="0" y="411480"/>
                  </a:lnTo>
                  <a:lnTo>
                    <a:pt x="7630287" y="411480"/>
                  </a:lnTo>
                  <a:lnTo>
                    <a:pt x="8041768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8" name="Freeform: Shape 11">
              <a:extLst>
                <a:ext uri="{FF2B5EF4-FFF2-40B4-BE49-F238E27FC236}">
                  <a16:creationId xmlns:a16="http://schemas.microsoft.com/office/drawing/2014/main" id="{E27528A8-C28F-AB4A-AB35-FDE8578A81DA}"/>
                </a:ext>
              </a:extLst>
            </p:cNvPr>
            <p:cNvSpPr/>
            <p:nvPr/>
          </p:nvSpPr>
          <p:spPr>
            <a:xfrm>
              <a:off x="10128217" y="6446519"/>
              <a:ext cx="2063782" cy="411480"/>
            </a:xfrm>
            <a:custGeom>
              <a:avLst/>
              <a:gdLst>
                <a:gd name="connsiteX0" fmla="*/ 411481 w 2063782"/>
                <a:gd name="connsiteY0" fmla="*/ 0 h 411480"/>
                <a:gd name="connsiteX1" fmla="*/ 0 w 2063782"/>
                <a:gd name="connsiteY1" fmla="*/ 411480 h 411480"/>
                <a:gd name="connsiteX2" fmla="*/ 2063782 w 2063782"/>
                <a:gd name="connsiteY2" fmla="*/ 411480 h 411480"/>
                <a:gd name="connsiteX3" fmla="*/ 2063782 w 2063782"/>
                <a:gd name="connsiteY3" fmla="*/ 0 h 411480"/>
                <a:gd name="connsiteX4" fmla="*/ 411481 w 2063782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782" h="411480">
                  <a:moveTo>
                    <a:pt x="411481" y="0"/>
                  </a:moveTo>
                  <a:lnTo>
                    <a:pt x="0" y="411480"/>
                  </a:lnTo>
                  <a:lnTo>
                    <a:pt x="2063782" y="411480"/>
                  </a:lnTo>
                  <a:lnTo>
                    <a:pt x="2063782" y="0"/>
                  </a:lnTo>
                  <a:lnTo>
                    <a:pt x="411481" y="0"/>
                  </a:lnTo>
                  <a:close/>
                </a:path>
              </a:pathLst>
            </a:custGeom>
            <a:solidFill>
              <a:srgbClr val="1B36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9" name="Freeform: Shape 13">
              <a:extLst>
                <a:ext uri="{FF2B5EF4-FFF2-40B4-BE49-F238E27FC236}">
                  <a16:creationId xmlns:a16="http://schemas.microsoft.com/office/drawing/2014/main" id="{C1D877CB-1DF3-5244-8B87-FB999E9A9BEE}"/>
                </a:ext>
              </a:extLst>
            </p:cNvPr>
            <p:cNvSpPr/>
            <p:nvPr/>
          </p:nvSpPr>
          <p:spPr>
            <a:xfrm>
              <a:off x="7630287" y="6446519"/>
              <a:ext cx="2909411" cy="411480"/>
            </a:xfrm>
            <a:custGeom>
              <a:avLst/>
              <a:gdLst>
                <a:gd name="connsiteX0" fmla="*/ 2909411 w 2909411"/>
                <a:gd name="connsiteY0" fmla="*/ 0 h 411480"/>
                <a:gd name="connsiteX1" fmla="*/ 411480 w 2909411"/>
                <a:gd name="connsiteY1" fmla="*/ 0 h 411480"/>
                <a:gd name="connsiteX2" fmla="*/ 0 w 2909411"/>
                <a:gd name="connsiteY2" fmla="*/ 411480 h 411480"/>
                <a:gd name="connsiteX3" fmla="*/ 2497931 w 2909411"/>
                <a:gd name="connsiteY3" fmla="*/ 411480 h 411480"/>
                <a:gd name="connsiteX4" fmla="*/ 2909411 w 2909411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411" h="411480">
                  <a:moveTo>
                    <a:pt x="2909411" y="0"/>
                  </a:moveTo>
                  <a:lnTo>
                    <a:pt x="411480" y="0"/>
                  </a:lnTo>
                  <a:lnTo>
                    <a:pt x="0" y="411480"/>
                  </a:lnTo>
                  <a:lnTo>
                    <a:pt x="2497931" y="411480"/>
                  </a:lnTo>
                  <a:lnTo>
                    <a:pt x="2909411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20" name="Slide Number Placeholder 12">
            <a:extLst>
              <a:ext uri="{FF2B5EF4-FFF2-40B4-BE49-F238E27FC236}">
                <a16:creationId xmlns:a16="http://schemas.microsoft.com/office/drawing/2014/main" id="{CC1B3AC6-2237-E74A-B090-BCE2663EE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06590" y="485227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D6713A7-69E2-F04E-BCA7-C06BDD38B51F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grpSp>
        <p:nvGrpSpPr>
          <p:cNvPr id="22" name="Graphic 7">
            <a:extLst>
              <a:ext uri="{FF2B5EF4-FFF2-40B4-BE49-F238E27FC236}">
                <a16:creationId xmlns:a16="http://schemas.microsoft.com/office/drawing/2014/main" id="{704BB98F-0BED-4C44-9900-B12D37DFFC5F}"/>
              </a:ext>
            </a:extLst>
          </p:cNvPr>
          <p:cNvGrpSpPr/>
          <p:nvPr/>
        </p:nvGrpSpPr>
        <p:grpSpPr>
          <a:xfrm>
            <a:off x="1" y="4834889"/>
            <a:ext cx="9143999" cy="308610"/>
            <a:chOff x="0" y="6446519"/>
            <a:chExt cx="12191999" cy="411480"/>
          </a:xfrm>
          <a:solidFill>
            <a:schemeClr val="accent1"/>
          </a:solidFill>
        </p:grpSpPr>
        <p:sp>
          <p:nvSpPr>
            <p:cNvPr id="23" name="Freeform: Shape 10">
              <a:extLst>
                <a:ext uri="{FF2B5EF4-FFF2-40B4-BE49-F238E27FC236}">
                  <a16:creationId xmlns:a16="http://schemas.microsoft.com/office/drawing/2014/main" id="{F9841E03-FDEC-2C43-A74D-2E86C06F0501}"/>
                </a:ext>
              </a:extLst>
            </p:cNvPr>
            <p:cNvSpPr/>
            <p:nvPr/>
          </p:nvSpPr>
          <p:spPr>
            <a:xfrm>
              <a:off x="0" y="6446519"/>
              <a:ext cx="8041767" cy="411480"/>
            </a:xfrm>
            <a:custGeom>
              <a:avLst/>
              <a:gdLst>
                <a:gd name="connsiteX0" fmla="*/ 8041768 w 8041767"/>
                <a:gd name="connsiteY0" fmla="*/ 0 h 411480"/>
                <a:gd name="connsiteX1" fmla="*/ 0 w 8041767"/>
                <a:gd name="connsiteY1" fmla="*/ 0 h 411480"/>
                <a:gd name="connsiteX2" fmla="*/ 0 w 8041767"/>
                <a:gd name="connsiteY2" fmla="*/ 411480 h 411480"/>
                <a:gd name="connsiteX3" fmla="*/ 7630287 w 8041767"/>
                <a:gd name="connsiteY3" fmla="*/ 411480 h 411480"/>
                <a:gd name="connsiteX4" fmla="*/ 8041768 w 8041767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767" h="411480">
                  <a:moveTo>
                    <a:pt x="8041768" y="0"/>
                  </a:moveTo>
                  <a:lnTo>
                    <a:pt x="0" y="0"/>
                  </a:lnTo>
                  <a:lnTo>
                    <a:pt x="0" y="411480"/>
                  </a:lnTo>
                  <a:lnTo>
                    <a:pt x="7630287" y="411480"/>
                  </a:lnTo>
                  <a:lnTo>
                    <a:pt x="8041768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4" name="Freeform: Shape 11">
              <a:extLst>
                <a:ext uri="{FF2B5EF4-FFF2-40B4-BE49-F238E27FC236}">
                  <a16:creationId xmlns:a16="http://schemas.microsoft.com/office/drawing/2014/main" id="{9A6154CB-B7C1-9246-99D0-89501FBAF2D0}"/>
                </a:ext>
              </a:extLst>
            </p:cNvPr>
            <p:cNvSpPr/>
            <p:nvPr/>
          </p:nvSpPr>
          <p:spPr>
            <a:xfrm>
              <a:off x="10128217" y="6446519"/>
              <a:ext cx="2063782" cy="411480"/>
            </a:xfrm>
            <a:custGeom>
              <a:avLst/>
              <a:gdLst>
                <a:gd name="connsiteX0" fmla="*/ 411481 w 2063782"/>
                <a:gd name="connsiteY0" fmla="*/ 0 h 411480"/>
                <a:gd name="connsiteX1" fmla="*/ 0 w 2063782"/>
                <a:gd name="connsiteY1" fmla="*/ 411480 h 411480"/>
                <a:gd name="connsiteX2" fmla="*/ 2063782 w 2063782"/>
                <a:gd name="connsiteY2" fmla="*/ 411480 h 411480"/>
                <a:gd name="connsiteX3" fmla="*/ 2063782 w 2063782"/>
                <a:gd name="connsiteY3" fmla="*/ 0 h 411480"/>
                <a:gd name="connsiteX4" fmla="*/ 411481 w 2063782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782" h="411480">
                  <a:moveTo>
                    <a:pt x="411481" y="0"/>
                  </a:moveTo>
                  <a:lnTo>
                    <a:pt x="0" y="411480"/>
                  </a:lnTo>
                  <a:lnTo>
                    <a:pt x="2063782" y="411480"/>
                  </a:lnTo>
                  <a:lnTo>
                    <a:pt x="2063782" y="0"/>
                  </a:lnTo>
                  <a:lnTo>
                    <a:pt x="411481" y="0"/>
                  </a:lnTo>
                  <a:close/>
                </a:path>
              </a:pathLst>
            </a:custGeom>
            <a:solidFill>
              <a:srgbClr val="1B36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08F38559-DD56-A64B-8C7E-0B188541AE80}"/>
                </a:ext>
              </a:extLst>
            </p:cNvPr>
            <p:cNvSpPr/>
            <p:nvPr/>
          </p:nvSpPr>
          <p:spPr>
            <a:xfrm>
              <a:off x="7630287" y="6446519"/>
              <a:ext cx="2909411" cy="411480"/>
            </a:xfrm>
            <a:custGeom>
              <a:avLst/>
              <a:gdLst>
                <a:gd name="connsiteX0" fmla="*/ 2909411 w 2909411"/>
                <a:gd name="connsiteY0" fmla="*/ 0 h 411480"/>
                <a:gd name="connsiteX1" fmla="*/ 411480 w 2909411"/>
                <a:gd name="connsiteY1" fmla="*/ 0 h 411480"/>
                <a:gd name="connsiteX2" fmla="*/ 0 w 2909411"/>
                <a:gd name="connsiteY2" fmla="*/ 411480 h 411480"/>
                <a:gd name="connsiteX3" fmla="*/ 2497931 w 2909411"/>
                <a:gd name="connsiteY3" fmla="*/ 411480 h 411480"/>
                <a:gd name="connsiteX4" fmla="*/ 2909411 w 2909411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411" h="411480">
                  <a:moveTo>
                    <a:pt x="2909411" y="0"/>
                  </a:moveTo>
                  <a:lnTo>
                    <a:pt x="411480" y="0"/>
                  </a:lnTo>
                  <a:lnTo>
                    <a:pt x="0" y="411480"/>
                  </a:lnTo>
                  <a:lnTo>
                    <a:pt x="2497931" y="411480"/>
                  </a:lnTo>
                  <a:lnTo>
                    <a:pt x="2909411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6B4F580-2978-1344-94BA-E951B760F6AA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64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1" y="-15958"/>
            <a:ext cx="4571999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7DC37C6-567A-3D41-86EA-955918650C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92267" y="675085"/>
            <a:ext cx="4087415" cy="3733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400471-58A9-0D40-9CB5-A23D33E8BF1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6113" b="23337"/>
          <a:stretch/>
        </p:blipFill>
        <p:spPr>
          <a:xfrm>
            <a:off x="-1" y="-15958"/>
            <a:ext cx="4579144" cy="487784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AEC69F7-4F97-3443-9BC5-79B9E74E64BB}"/>
              </a:ext>
            </a:extLst>
          </p:cNvPr>
          <p:cNvSpPr/>
          <p:nvPr/>
        </p:nvSpPr>
        <p:spPr>
          <a:xfrm>
            <a:off x="-11397" y="1"/>
            <a:ext cx="4579144" cy="4872812"/>
          </a:xfrm>
          <a:prstGeom prst="rect">
            <a:avLst/>
          </a:prstGeom>
          <a:solidFill>
            <a:schemeClr val="accent1">
              <a:alpha val="3945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7" y="-67958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576FFB-509B-2749-A46E-13C0B09022FC}"/>
              </a:ext>
            </a:extLst>
          </p:cNvPr>
          <p:cNvSpPr txBox="1">
            <a:spLocks/>
          </p:cNvSpPr>
          <p:nvPr/>
        </p:nvSpPr>
        <p:spPr>
          <a:xfrm>
            <a:off x="489347" y="1386783"/>
            <a:ext cx="1432322" cy="2180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5BC9E6"/>
                </a:solidFill>
                <a:effectLst/>
                <a:uLnTx/>
                <a:uFillTx/>
                <a:latin typeface="Open Sans"/>
                <a:ea typeface="+mj-ea"/>
                <a:cs typeface="+mj-cs"/>
              </a:rPr>
              <a:t>CASE STUD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7CCB54-A390-8146-AAE5-F5043FC38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594" y="1647723"/>
            <a:ext cx="3848100" cy="2065735"/>
          </a:xfrm>
        </p:spPr>
        <p:txBody>
          <a:bodyPr rIns="0">
            <a:normAutofit/>
          </a:bodyPr>
          <a:lstStyle>
            <a:lvl1pPr marL="0" indent="0">
              <a:spcBef>
                <a:spcPts val="1200"/>
              </a:spcBef>
              <a:buNone/>
              <a:defRPr sz="21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: Rounded Corners 15">
            <a:extLst>
              <a:ext uri="{FF2B5EF4-FFF2-40B4-BE49-F238E27FC236}">
                <a16:creationId xmlns:a16="http://schemas.microsoft.com/office/drawing/2014/main" id="{7BE8B75A-35B7-BD47-8779-0786C1E6BDF9}"/>
              </a:ext>
            </a:extLst>
          </p:cNvPr>
          <p:cNvSpPr/>
          <p:nvPr/>
        </p:nvSpPr>
        <p:spPr>
          <a:xfrm>
            <a:off x="4564856" y="1"/>
            <a:ext cx="78582" cy="484592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51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320">
          <p15:clr>
            <a:srgbClr val="FBAE40"/>
          </p15:clr>
        </p15:guide>
        <p15:guide id="3" pos="40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1" y="-15958"/>
            <a:ext cx="4571999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7DC37C6-567A-3D41-86EA-955918650C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92267" y="675085"/>
            <a:ext cx="4087415" cy="3733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: Rounded Corners 15">
            <a:extLst>
              <a:ext uri="{FF2B5EF4-FFF2-40B4-BE49-F238E27FC236}">
                <a16:creationId xmlns:a16="http://schemas.microsoft.com/office/drawing/2014/main" id="{7BE8B75A-35B7-BD47-8779-0786C1E6BDF9}"/>
              </a:ext>
            </a:extLst>
          </p:cNvPr>
          <p:cNvSpPr/>
          <p:nvPr/>
        </p:nvSpPr>
        <p:spPr>
          <a:xfrm>
            <a:off x="4564856" y="1"/>
            <a:ext cx="78582" cy="484592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FF9491D-1E8F-E84D-AEE6-6473C6DC689A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97" y="0"/>
            <a:ext cx="4579200" cy="4846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AEC69F7-4F97-3443-9BC5-79B9E74E64BB}"/>
              </a:ext>
            </a:extLst>
          </p:cNvPr>
          <p:cNvSpPr/>
          <p:nvPr/>
        </p:nvSpPr>
        <p:spPr>
          <a:xfrm>
            <a:off x="-15593" y="1"/>
            <a:ext cx="4579144" cy="4872812"/>
          </a:xfrm>
          <a:prstGeom prst="rect">
            <a:avLst/>
          </a:prstGeom>
          <a:solidFill>
            <a:schemeClr val="accent1">
              <a:alpha val="3945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576FFB-509B-2749-A46E-13C0B09022FC}"/>
              </a:ext>
            </a:extLst>
          </p:cNvPr>
          <p:cNvSpPr txBox="1">
            <a:spLocks/>
          </p:cNvSpPr>
          <p:nvPr/>
        </p:nvSpPr>
        <p:spPr>
          <a:xfrm>
            <a:off x="489347" y="1386783"/>
            <a:ext cx="1432322" cy="2180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5BC9E6"/>
                </a:solidFill>
                <a:effectLst/>
                <a:uLnTx/>
                <a:uFillTx/>
                <a:latin typeface="Open Sans"/>
                <a:ea typeface="+mj-ea"/>
                <a:cs typeface="+mj-cs"/>
              </a:rPr>
              <a:t>CASE STUD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7CCB54-A390-8146-AAE5-F5043FC38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594" y="1647723"/>
            <a:ext cx="3848100" cy="2065735"/>
          </a:xfrm>
        </p:spPr>
        <p:txBody>
          <a:bodyPr rIns="0">
            <a:normAutofit/>
          </a:bodyPr>
          <a:lstStyle>
            <a:lvl1pPr marL="0" indent="0">
              <a:spcBef>
                <a:spcPts val="1200"/>
              </a:spcBef>
              <a:buNone/>
              <a:defRPr sz="21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7" y="-67958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</p:spTree>
    <p:extLst>
      <p:ext uri="{BB962C8B-B14F-4D97-AF65-F5344CB8AC3E}">
        <p14:creationId xmlns:p14="http://schemas.microsoft.com/office/powerpoint/2010/main" val="422547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320">
          <p15:clr>
            <a:srgbClr val="FBAE40"/>
          </p15:clr>
        </p15:guide>
        <p15:guide id="3" pos="40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2050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29098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D025DFE-E70F-3944-A79C-BF0707317A2D}"/>
              </a:ext>
            </a:extLst>
          </p:cNvPr>
          <p:cNvGrpSpPr/>
          <p:nvPr/>
        </p:nvGrpSpPr>
        <p:grpSpPr>
          <a:xfrm>
            <a:off x="6461952" y="2514600"/>
            <a:ext cx="1370255" cy="1040802"/>
            <a:chOff x="961016" y="3352800"/>
            <a:chExt cx="1827007" cy="1387736"/>
          </a:xfrm>
          <a:solidFill>
            <a:schemeClr val="accent2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29CBC0A-BA42-BD41-BF05-094902EF933B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3CE5BF90-EF95-5B48-865D-61ED8DD3B29C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3CCB35A-4085-AF47-A653-AB43152DE3D0}"/>
              </a:ext>
            </a:extLst>
          </p:cNvPr>
          <p:cNvGrpSpPr/>
          <p:nvPr/>
        </p:nvGrpSpPr>
        <p:grpSpPr>
          <a:xfrm>
            <a:off x="5166361" y="2514600"/>
            <a:ext cx="1393754" cy="1040802"/>
            <a:chOff x="961016" y="3352800"/>
            <a:chExt cx="1827007" cy="1387736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93FA89-A865-9C4D-ABB1-2E51A2CF47D3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12" name="Triangle 11">
              <a:extLst>
                <a:ext uri="{FF2B5EF4-FFF2-40B4-BE49-F238E27FC236}">
                  <a16:creationId xmlns:a16="http://schemas.microsoft.com/office/drawing/2014/main" id="{809CEAB8-119F-4A47-A593-62D3C5682242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E30255-E6E5-5243-AD22-A06C16E970DB}"/>
              </a:ext>
            </a:extLst>
          </p:cNvPr>
          <p:cNvGrpSpPr/>
          <p:nvPr/>
        </p:nvGrpSpPr>
        <p:grpSpPr>
          <a:xfrm>
            <a:off x="3881318" y="2514600"/>
            <a:ext cx="1393754" cy="1040802"/>
            <a:chOff x="961016" y="3352800"/>
            <a:chExt cx="1827007" cy="1387736"/>
          </a:xfrm>
          <a:solidFill>
            <a:schemeClr val="accent5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973C441-A948-B641-8687-D761AF5ADF82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15" name="Triangle 14">
              <a:extLst>
                <a:ext uri="{FF2B5EF4-FFF2-40B4-BE49-F238E27FC236}">
                  <a16:creationId xmlns:a16="http://schemas.microsoft.com/office/drawing/2014/main" id="{43F510DC-9121-054C-9B59-9F0BA1BC0516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41AB54-0F23-D545-9AA8-028B3F6BC431}"/>
              </a:ext>
            </a:extLst>
          </p:cNvPr>
          <p:cNvGrpSpPr/>
          <p:nvPr/>
        </p:nvGrpSpPr>
        <p:grpSpPr>
          <a:xfrm>
            <a:off x="2589617" y="2514600"/>
            <a:ext cx="1393754" cy="1040802"/>
            <a:chOff x="961016" y="3352800"/>
            <a:chExt cx="1827007" cy="1387736"/>
          </a:xfrm>
          <a:solidFill>
            <a:schemeClr val="accent6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BA92FC3-F2C7-FE4C-8170-A539861AA8E1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18" name="Triangle 17">
              <a:extLst>
                <a:ext uri="{FF2B5EF4-FFF2-40B4-BE49-F238E27FC236}">
                  <a16:creationId xmlns:a16="http://schemas.microsoft.com/office/drawing/2014/main" id="{D72184B7-46FE-1445-8145-273226D8F86C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3D9DBAB-7D15-DC47-86A6-85983E206EB9}"/>
              </a:ext>
            </a:extLst>
          </p:cNvPr>
          <p:cNvGrpSpPr/>
          <p:nvPr/>
        </p:nvGrpSpPr>
        <p:grpSpPr>
          <a:xfrm>
            <a:off x="1315123" y="2514600"/>
            <a:ext cx="1370255" cy="1040802"/>
            <a:chOff x="961016" y="3352800"/>
            <a:chExt cx="1827007" cy="1387736"/>
          </a:xfrm>
          <a:solidFill>
            <a:srgbClr val="FFFF00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28E4EEF-04B8-A74F-B1E3-330E3413C724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21" name="Triangle 20">
              <a:extLst>
                <a:ext uri="{FF2B5EF4-FFF2-40B4-BE49-F238E27FC236}">
                  <a16:creationId xmlns:a16="http://schemas.microsoft.com/office/drawing/2014/main" id="{9463B39D-113A-484D-933C-850D58867D7D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sp>
        <p:nvSpPr>
          <p:cNvPr id="22" name="Picture Placeholder 26">
            <a:extLst>
              <a:ext uri="{FF2B5EF4-FFF2-40B4-BE49-F238E27FC236}">
                <a16:creationId xmlns:a16="http://schemas.microsoft.com/office/drawing/2014/main" id="{84625E66-97C4-4842-AF70-1F1771A5770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596980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3" name="Picture Placeholder 26">
            <a:extLst>
              <a:ext uri="{FF2B5EF4-FFF2-40B4-BE49-F238E27FC236}">
                <a16:creationId xmlns:a16="http://schemas.microsoft.com/office/drawing/2014/main" id="{68096AD5-60E1-D14D-ABA4-3EA3576900D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59055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4" name="Picture Placeholder 26">
            <a:extLst>
              <a:ext uri="{FF2B5EF4-FFF2-40B4-BE49-F238E27FC236}">
                <a16:creationId xmlns:a16="http://schemas.microsoft.com/office/drawing/2014/main" id="{2A2E5EC4-59EE-DD4A-8F55-A466D09BF7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92555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5" name="Picture Placeholder 26">
            <a:extLst>
              <a:ext uri="{FF2B5EF4-FFF2-40B4-BE49-F238E27FC236}">
                <a16:creationId xmlns:a16="http://schemas.microsoft.com/office/drawing/2014/main" id="{C40F95FB-DCA2-8E40-AA72-2EE332F3EE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59380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6" name="Picture Placeholder 26">
            <a:extLst>
              <a:ext uri="{FF2B5EF4-FFF2-40B4-BE49-F238E27FC236}">
                <a16:creationId xmlns:a16="http://schemas.microsoft.com/office/drawing/2014/main" id="{F808F413-B1B9-F743-BDE5-7F6DB1F26EF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54780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6E1315C-3E7F-9F4B-9652-BD2FE98A15A8}"/>
              </a:ext>
            </a:extLst>
          </p:cNvPr>
          <p:cNvCxnSpPr/>
          <p:nvPr/>
        </p:nvCxnSpPr>
        <p:spPr>
          <a:xfrm>
            <a:off x="1315122" y="1610284"/>
            <a:ext cx="0" cy="68838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9CF0A7-84C9-3443-90AE-4571FD42756A}"/>
              </a:ext>
            </a:extLst>
          </p:cNvPr>
          <p:cNvCxnSpPr/>
          <p:nvPr/>
        </p:nvCxnSpPr>
        <p:spPr>
          <a:xfrm>
            <a:off x="3893069" y="1610284"/>
            <a:ext cx="0" cy="68838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4258440-0737-8F45-A1FC-333A056E785C}"/>
              </a:ext>
            </a:extLst>
          </p:cNvPr>
          <p:cNvCxnSpPr/>
          <p:nvPr/>
        </p:nvCxnSpPr>
        <p:spPr>
          <a:xfrm>
            <a:off x="6462753" y="1610284"/>
            <a:ext cx="0" cy="68838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33DEC34-6EEC-5949-A868-229E74EE1C5D}"/>
              </a:ext>
            </a:extLst>
          </p:cNvPr>
          <p:cNvCxnSpPr/>
          <p:nvPr/>
        </p:nvCxnSpPr>
        <p:spPr>
          <a:xfrm>
            <a:off x="2587215" y="3716350"/>
            <a:ext cx="0" cy="68838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FD04DC5-4A8C-A14D-9882-5E02DB03EBDC}"/>
              </a:ext>
            </a:extLst>
          </p:cNvPr>
          <p:cNvCxnSpPr/>
          <p:nvPr/>
        </p:nvCxnSpPr>
        <p:spPr>
          <a:xfrm>
            <a:off x="5181687" y="3716350"/>
            <a:ext cx="0" cy="68838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76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0" y="-15958"/>
            <a:ext cx="2492761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  <p:sp>
        <p:nvSpPr>
          <p:cNvPr id="14" name="Rectangle: Rounded Corners 15">
            <a:extLst>
              <a:ext uri="{FF2B5EF4-FFF2-40B4-BE49-F238E27FC236}">
                <a16:creationId xmlns:a16="http://schemas.microsoft.com/office/drawing/2014/main" id="{7BE8B75A-35B7-BD47-8779-0786C1E6BDF9}"/>
              </a:ext>
            </a:extLst>
          </p:cNvPr>
          <p:cNvSpPr/>
          <p:nvPr/>
        </p:nvSpPr>
        <p:spPr>
          <a:xfrm>
            <a:off x="2418813" y="-26883"/>
            <a:ext cx="73949" cy="487281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9" name="Picture 8" descr="A picture containing blue, person, sitting, plane&#10;&#10;Description automatically generated">
            <a:extLst>
              <a:ext uri="{FF2B5EF4-FFF2-40B4-BE49-F238E27FC236}">
                <a16:creationId xmlns:a16="http://schemas.microsoft.com/office/drawing/2014/main" id="{75C44388-3682-288A-CDD4-993CED69FD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8" t="1159" b="4245"/>
          <a:stretch/>
        </p:blipFill>
        <p:spPr>
          <a:xfrm>
            <a:off x="-11398" y="-15959"/>
            <a:ext cx="2504158" cy="4865532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7" y="-67958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7CCB54-A390-8146-AAE5-F5043FC38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018" y="2317680"/>
            <a:ext cx="1510086" cy="1247878"/>
          </a:xfrm>
        </p:spPr>
        <p:txBody>
          <a:bodyPr rIns="0">
            <a:normAutofit/>
          </a:bodyPr>
          <a:lstStyle>
            <a:lvl1pPr marL="0" indent="0">
              <a:spcBef>
                <a:spcPts val="1200"/>
              </a:spcBef>
              <a:buNone/>
              <a:defRPr sz="21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893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320">
          <p15:clr>
            <a:srgbClr val="FBAE40"/>
          </p15:clr>
        </p15:guide>
        <p15:guide id="3" pos="40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p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FABDE2-B2A4-2A4A-84CB-40D556937F0C}"/>
              </a:ext>
            </a:extLst>
          </p:cNvPr>
          <p:cNvSpPr/>
          <p:nvPr/>
        </p:nvSpPr>
        <p:spPr>
          <a:xfrm>
            <a:off x="1" y="-15958"/>
            <a:ext cx="2226212" cy="4850963"/>
          </a:xfrm>
          <a:prstGeom prst="rect">
            <a:avLst/>
          </a:prstGeom>
          <a:gradFill>
            <a:gsLst>
              <a:gs pos="27000">
                <a:schemeClr val="accent2"/>
              </a:gs>
              <a:gs pos="99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CDE3FC-5F3B-BA4C-B7B3-B618CA1FE8E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19"/>
          <a:stretch/>
        </p:blipFill>
        <p:spPr>
          <a:xfrm>
            <a:off x="-2712" y="-64984"/>
            <a:ext cx="2421525" cy="489969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AEC69F7-4F97-3443-9BC5-79B9E74E64BB}"/>
              </a:ext>
            </a:extLst>
          </p:cNvPr>
          <p:cNvSpPr/>
          <p:nvPr/>
        </p:nvSpPr>
        <p:spPr>
          <a:xfrm>
            <a:off x="-11397" y="-34863"/>
            <a:ext cx="2430210" cy="4888771"/>
          </a:xfrm>
          <a:prstGeom prst="rect">
            <a:avLst/>
          </a:prstGeom>
          <a:solidFill>
            <a:schemeClr val="accent1">
              <a:alpha val="3945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69B5DC8C-CE93-3C42-ADD8-8A0D5F8E084A}"/>
              </a:ext>
            </a:extLst>
          </p:cNvPr>
          <p:cNvSpPr/>
          <p:nvPr/>
        </p:nvSpPr>
        <p:spPr>
          <a:xfrm rot="18900000">
            <a:off x="-663627" y="-679583"/>
            <a:ext cx="1327252" cy="1327252"/>
          </a:xfrm>
          <a:prstGeom prst="rtTriangle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>
              <a:solidFill>
                <a:srgbClr val="F36D21"/>
              </a:solidFill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3BBBFE2-D901-5A4D-89BA-2D5A45D78669}"/>
              </a:ext>
            </a:extLst>
          </p:cNvPr>
          <p:cNvSpPr/>
          <p:nvPr/>
        </p:nvSpPr>
        <p:spPr>
          <a:xfrm>
            <a:off x="-11397" y="4194958"/>
            <a:ext cx="640046" cy="640046"/>
          </a:xfrm>
          <a:prstGeom prst="rtTriangle">
            <a:avLst/>
          </a:prstGeom>
          <a:solidFill>
            <a:srgbClr val="D3D755">
              <a:alpha val="79255"/>
            </a:srgb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err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7CCB54-A390-8146-AAE5-F5043FC38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1445" y="2325473"/>
            <a:ext cx="1510086" cy="1247878"/>
          </a:xfrm>
        </p:spPr>
        <p:txBody>
          <a:bodyPr rIns="0">
            <a:normAutofit/>
          </a:bodyPr>
          <a:lstStyle>
            <a:lvl1pPr marL="0" indent="0">
              <a:spcBef>
                <a:spcPts val="1200"/>
              </a:spcBef>
              <a:buNone/>
              <a:defRPr sz="21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: Rounded Corners 15">
            <a:extLst>
              <a:ext uri="{FF2B5EF4-FFF2-40B4-BE49-F238E27FC236}">
                <a16:creationId xmlns:a16="http://schemas.microsoft.com/office/drawing/2014/main" id="{7BE8B75A-35B7-BD47-8779-0786C1E6BDF9}"/>
              </a:ext>
            </a:extLst>
          </p:cNvPr>
          <p:cNvSpPr/>
          <p:nvPr/>
        </p:nvSpPr>
        <p:spPr>
          <a:xfrm>
            <a:off x="2418813" y="-26883"/>
            <a:ext cx="73949" cy="487281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740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320">
          <p15:clr>
            <a:srgbClr val="FBAE40"/>
          </p15:clr>
        </p15:guide>
        <p15:guide id="3" pos="40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w 7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9B064D6-E6D1-E749-8140-45FF3C9CF854}"/>
              </a:ext>
            </a:extLst>
          </p:cNvPr>
          <p:cNvGrpSpPr/>
          <p:nvPr/>
        </p:nvGrpSpPr>
        <p:grpSpPr>
          <a:xfrm>
            <a:off x="7150055" y="2514599"/>
            <a:ext cx="1175333" cy="1040802"/>
            <a:chOff x="961016" y="3352800"/>
            <a:chExt cx="1827007" cy="1387736"/>
          </a:xfrm>
          <a:solidFill>
            <a:srgbClr val="F0740E"/>
          </a:solidFill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C845B8F-F4FE-BF4B-A994-C34F7A2C4915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34" name="Triangle 33">
              <a:extLst>
                <a:ext uri="{FF2B5EF4-FFF2-40B4-BE49-F238E27FC236}">
                  <a16:creationId xmlns:a16="http://schemas.microsoft.com/office/drawing/2014/main" id="{167C61C2-AA7A-0645-8D78-7A56568F8F2F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6605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974648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D025DFE-E70F-3944-A79C-BF0707317A2D}"/>
              </a:ext>
            </a:extLst>
          </p:cNvPr>
          <p:cNvGrpSpPr/>
          <p:nvPr/>
        </p:nvGrpSpPr>
        <p:grpSpPr>
          <a:xfrm>
            <a:off x="6067551" y="2514600"/>
            <a:ext cx="1170318" cy="1040802"/>
            <a:chOff x="961016" y="3352800"/>
            <a:chExt cx="1827007" cy="1387736"/>
          </a:xfrm>
          <a:solidFill>
            <a:schemeClr val="accent4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29CBC0A-BA42-BD41-BF05-094902EF933B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3CE5BF90-EF95-5B48-865D-61ED8DD3B29C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3CCB35A-4085-AF47-A653-AB43152DE3D0}"/>
              </a:ext>
            </a:extLst>
          </p:cNvPr>
          <p:cNvGrpSpPr/>
          <p:nvPr/>
        </p:nvGrpSpPr>
        <p:grpSpPr>
          <a:xfrm>
            <a:off x="4965998" y="2514600"/>
            <a:ext cx="1190388" cy="1040802"/>
            <a:chOff x="961016" y="3352800"/>
            <a:chExt cx="1827007" cy="1387736"/>
          </a:xfrm>
          <a:solidFill>
            <a:schemeClr val="accent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93FA89-A865-9C4D-ABB1-2E51A2CF47D3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12" name="Triangle 11">
              <a:extLst>
                <a:ext uri="{FF2B5EF4-FFF2-40B4-BE49-F238E27FC236}">
                  <a16:creationId xmlns:a16="http://schemas.microsoft.com/office/drawing/2014/main" id="{809CEAB8-119F-4A47-A593-62D3C5682242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sp>
        <p:nvSpPr>
          <p:cNvPr id="22" name="Picture Placeholder 26">
            <a:extLst>
              <a:ext uri="{FF2B5EF4-FFF2-40B4-BE49-F238E27FC236}">
                <a16:creationId xmlns:a16="http://schemas.microsoft.com/office/drawing/2014/main" id="{84625E66-97C4-4842-AF70-1F1771A5770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596980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3" name="Picture Placeholder 26">
            <a:extLst>
              <a:ext uri="{FF2B5EF4-FFF2-40B4-BE49-F238E27FC236}">
                <a16:creationId xmlns:a16="http://schemas.microsoft.com/office/drawing/2014/main" id="{68096AD5-60E1-D14D-ABA4-3EA3576900D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59055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4" name="Picture Placeholder 26">
            <a:extLst>
              <a:ext uri="{FF2B5EF4-FFF2-40B4-BE49-F238E27FC236}">
                <a16:creationId xmlns:a16="http://schemas.microsoft.com/office/drawing/2014/main" id="{2A2E5EC4-59EE-DD4A-8F55-A466D09BF7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92555" y="2740400"/>
            <a:ext cx="590550" cy="533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Icon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9E257C5-7D62-6F4E-867A-DE1000BAB0BA}"/>
              </a:ext>
            </a:extLst>
          </p:cNvPr>
          <p:cNvGrpSpPr/>
          <p:nvPr/>
        </p:nvGrpSpPr>
        <p:grpSpPr>
          <a:xfrm>
            <a:off x="3869090" y="2514600"/>
            <a:ext cx="1190388" cy="1040802"/>
            <a:chOff x="961016" y="3352800"/>
            <a:chExt cx="1827007" cy="1387736"/>
          </a:xfrm>
          <a:solidFill>
            <a:schemeClr val="accent1"/>
          </a:solidFill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524CEBF-6B70-9F4E-8842-42BEEF718F50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7" name="Triangle 36">
              <a:extLst>
                <a:ext uri="{FF2B5EF4-FFF2-40B4-BE49-F238E27FC236}">
                  <a16:creationId xmlns:a16="http://schemas.microsoft.com/office/drawing/2014/main" id="{7691DE0D-90F7-1F41-AABF-BDAB06F4E317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9605811-8664-D744-B811-5FF0FA1E7E39}"/>
              </a:ext>
            </a:extLst>
          </p:cNvPr>
          <p:cNvGrpSpPr/>
          <p:nvPr/>
        </p:nvGrpSpPr>
        <p:grpSpPr>
          <a:xfrm>
            <a:off x="2779079" y="2514600"/>
            <a:ext cx="1190388" cy="1040802"/>
            <a:chOff x="961016" y="3352800"/>
            <a:chExt cx="1827007" cy="1387736"/>
          </a:xfrm>
          <a:solidFill>
            <a:schemeClr val="accent5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C84F495-7EC5-F442-94B8-8CFFE19E775C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40" name="Triangle 39">
              <a:extLst>
                <a:ext uri="{FF2B5EF4-FFF2-40B4-BE49-F238E27FC236}">
                  <a16:creationId xmlns:a16="http://schemas.microsoft.com/office/drawing/2014/main" id="{4D675CAB-D903-DB4D-B05E-F4A4A97940A9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5ACD5AB-FBB0-6D42-9E65-E1A6177B80BA}"/>
              </a:ext>
            </a:extLst>
          </p:cNvPr>
          <p:cNvGrpSpPr/>
          <p:nvPr/>
        </p:nvGrpSpPr>
        <p:grpSpPr>
          <a:xfrm>
            <a:off x="1705733" y="2514600"/>
            <a:ext cx="1190388" cy="1040802"/>
            <a:chOff x="961016" y="3352800"/>
            <a:chExt cx="1827007" cy="1387736"/>
          </a:xfrm>
          <a:solidFill>
            <a:schemeClr val="accent6"/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A8969D2-F27A-E24B-8551-B430043E8F29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43" name="Triangle 42">
              <a:extLst>
                <a:ext uri="{FF2B5EF4-FFF2-40B4-BE49-F238E27FC236}">
                  <a16:creationId xmlns:a16="http://schemas.microsoft.com/office/drawing/2014/main" id="{6208F6BF-7BE3-3248-9635-F40C71CE80DB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D6E7343-83A9-944A-9FE2-5BC93AD67645}"/>
              </a:ext>
            </a:extLst>
          </p:cNvPr>
          <p:cNvGrpSpPr/>
          <p:nvPr/>
        </p:nvGrpSpPr>
        <p:grpSpPr>
          <a:xfrm>
            <a:off x="617187" y="2514600"/>
            <a:ext cx="1170318" cy="1040802"/>
            <a:chOff x="961016" y="3352800"/>
            <a:chExt cx="1827007" cy="1387736"/>
          </a:xfrm>
          <a:solidFill>
            <a:srgbClr val="FFFF00"/>
          </a:solidFill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05DEE1D-BCBA-9949-83EB-721244EF7BF0}"/>
                </a:ext>
              </a:extLst>
            </p:cNvPr>
            <p:cNvSpPr/>
            <p:nvPr/>
          </p:nvSpPr>
          <p:spPr>
            <a:xfrm>
              <a:off x="961016" y="3352800"/>
              <a:ext cx="1696123" cy="13877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46" name="Triangle 45">
              <a:extLst>
                <a:ext uri="{FF2B5EF4-FFF2-40B4-BE49-F238E27FC236}">
                  <a16:creationId xmlns:a16="http://schemas.microsoft.com/office/drawing/2014/main" id="{E43EB4FF-DCA2-6F4E-B7BC-239FAE5B5DC4}"/>
                </a:ext>
              </a:extLst>
            </p:cNvPr>
            <p:cNvSpPr/>
            <p:nvPr/>
          </p:nvSpPr>
          <p:spPr>
            <a:xfrm rot="5400000">
              <a:off x="2617693" y="3981226"/>
              <a:ext cx="209775" cy="13088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6E1315C-3E7F-9F4B-9652-BD2FE98A15A8}"/>
              </a:ext>
            </a:extLst>
          </p:cNvPr>
          <p:cNvCxnSpPr>
            <a:cxnSpLocks/>
          </p:cNvCxnSpPr>
          <p:nvPr/>
        </p:nvCxnSpPr>
        <p:spPr>
          <a:xfrm>
            <a:off x="2831624" y="1610283"/>
            <a:ext cx="0" cy="904315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B26898B-B290-BF48-92E4-A8CD9DC6F3AA}"/>
              </a:ext>
            </a:extLst>
          </p:cNvPr>
          <p:cNvCxnSpPr>
            <a:cxnSpLocks/>
          </p:cNvCxnSpPr>
          <p:nvPr/>
        </p:nvCxnSpPr>
        <p:spPr>
          <a:xfrm>
            <a:off x="633861" y="1610283"/>
            <a:ext cx="0" cy="904315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EEBB254-3E81-AE45-B58D-C729D64AFAB8}"/>
              </a:ext>
            </a:extLst>
          </p:cNvPr>
          <p:cNvCxnSpPr>
            <a:cxnSpLocks/>
          </p:cNvCxnSpPr>
          <p:nvPr/>
        </p:nvCxnSpPr>
        <p:spPr>
          <a:xfrm>
            <a:off x="4989214" y="1610283"/>
            <a:ext cx="0" cy="904315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5D3DCBF-2138-C640-880C-54A8B1EF47B2}"/>
              </a:ext>
            </a:extLst>
          </p:cNvPr>
          <p:cNvCxnSpPr>
            <a:cxnSpLocks/>
          </p:cNvCxnSpPr>
          <p:nvPr/>
        </p:nvCxnSpPr>
        <p:spPr>
          <a:xfrm>
            <a:off x="7163909" y="1610283"/>
            <a:ext cx="0" cy="904315"/>
          </a:xfrm>
          <a:prstGeom prst="line">
            <a:avLst/>
          </a:prstGeom>
          <a:ln w="25400">
            <a:solidFill>
              <a:srgbClr val="F074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69F88DF-C87F-9B4E-82F1-CF11BA1AE00A}"/>
              </a:ext>
            </a:extLst>
          </p:cNvPr>
          <p:cNvCxnSpPr/>
          <p:nvPr/>
        </p:nvCxnSpPr>
        <p:spPr>
          <a:xfrm>
            <a:off x="1703665" y="3489736"/>
            <a:ext cx="0" cy="914996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AB3437B-7BB0-4745-8A66-B122A90F166B}"/>
              </a:ext>
            </a:extLst>
          </p:cNvPr>
          <p:cNvCxnSpPr/>
          <p:nvPr/>
        </p:nvCxnSpPr>
        <p:spPr>
          <a:xfrm>
            <a:off x="6088332" y="3489736"/>
            <a:ext cx="0" cy="914996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DAE0DE2-54DF-204B-B718-054EBA1DBC87}"/>
              </a:ext>
            </a:extLst>
          </p:cNvPr>
          <p:cNvCxnSpPr/>
          <p:nvPr/>
        </p:nvCxnSpPr>
        <p:spPr>
          <a:xfrm>
            <a:off x="3890179" y="3489736"/>
            <a:ext cx="0" cy="914996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118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4DBDF5-F0FF-4BAB-A542-27C16504F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4A0CDC-2F36-426C-80AA-FE2E1F4F5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F547B6-87AA-43C9-9E1D-3574C141F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07226BF-68DB-4968-9A5F-34BB3DADA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A8063C-7A11-4535-8FA1-2D81C58A0A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9347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6BB947E-0A0E-429F-A7E3-CA05D4EC1AC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65551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36C9D73-3B53-4757-8E5D-A4CC768E6D2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34612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093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8">
          <p15:clr>
            <a:srgbClr val="FBAE40"/>
          </p15:clr>
        </p15:guide>
        <p15:guide id="2" pos="4937">
          <p15:clr>
            <a:srgbClr val="FBAE40"/>
          </p15:clr>
        </p15:guide>
        <p15:guide id="3" pos="5070">
          <p15:clr>
            <a:srgbClr val="FBAE40"/>
          </p15:clr>
        </p15:guide>
        <p15:guide id="4" pos="27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Third /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7CA3A-A27F-4124-85E1-594A0D712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0F987-64A7-458D-A758-EE38E047F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7AAF2C-4243-4267-812B-2FD3CB47B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E4A3EE-B55E-4F19-9274-53585DFCB8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9347" y="971587"/>
            <a:ext cx="2615097" cy="37129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7551" y="971550"/>
            <a:ext cx="5394722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497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7">
          <p15:clr>
            <a:srgbClr val="FBAE40"/>
          </p15:clr>
        </p15:guide>
        <p15:guide id="2" pos="273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9607-5688-4616-9516-C2D88F6FE3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9348" y="971550"/>
            <a:ext cx="4010170" cy="3714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2904" y="971605"/>
            <a:ext cx="4011930" cy="37135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D89808B-6466-4D38-9F1A-2C584931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700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1241F76C-3ACF-49A6-B9A8-9733CE848814}"/>
              </a:ext>
            </a:extLst>
          </p:cNvPr>
          <p:cNvGrpSpPr/>
          <p:nvPr/>
        </p:nvGrpSpPr>
        <p:grpSpPr>
          <a:xfrm>
            <a:off x="1" y="0"/>
            <a:ext cx="4536281" cy="4842587"/>
            <a:chOff x="0" y="0"/>
            <a:chExt cx="6048375" cy="645678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E361DDF-78D6-4144-854A-9923CDC9D769}"/>
                </a:ext>
              </a:extLst>
            </p:cNvPr>
            <p:cNvSpPr/>
            <p:nvPr/>
          </p:nvSpPr>
          <p:spPr>
            <a:xfrm>
              <a:off x="0" y="0"/>
              <a:ext cx="6048375" cy="6456782"/>
            </a:xfrm>
            <a:prstGeom prst="rect">
              <a:avLst/>
            </a:prstGeom>
            <a:solidFill>
              <a:srgbClr val="1832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14" name="Right Triangle 13">
              <a:extLst>
                <a:ext uri="{FF2B5EF4-FFF2-40B4-BE49-F238E27FC236}">
                  <a16:creationId xmlns:a16="http://schemas.microsoft.com/office/drawing/2014/main" id="{E3578D3E-8A9D-4F03-9CA2-EBD46DBF2E73}"/>
                </a:ext>
              </a:extLst>
            </p:cNvPr>
            <p:cNvSpPr/>
            <p:nvPr/>
          </p:nvSpPr>
          <p:spPr>
            <a:xfrm>
              <a:off x="4158" y="2819400"/>
              <a:ext cx="3652576" cy="3637382"/>
            </a:xfrm>
            <a:prstGeom prst="rtTriangle">
              <a:avLst/>
            </a:prstGeom>
            <a:solidFill>
              <a:srgbClr val="172E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A5D57B25-57E1-4F69-9527-4814F044E971}"/>
                </a:ext>
              </a:extLst>
            </p:cNvPr>
            <p:cNvSpPr/>
            <p:nvPr/>
          </p:nvSpPr>
          <p:spPr>
            <a:xfrm flipH="1">
              <a:off x="2070101" y="2605365"/>
              <a:ext cx="3978274" cy="3851417"/>
            </a:xfrm>
            <a:prstGeom prst="rtTriangle">
              <a:avLst/>
            </a:prstGeom>
            <a:solidFill>
              <a:srgbClr val="172E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5D324D2C-7C28-4524-BBCF-E2CF2346A693}"/>
                </a:ext>
              </a:extLst>
            </p:cNvPr>
            <p:cNvSpPr/>
            <p:nvPr/>
          </p:nvSpPr>
          <p:spPr>
            <a:xfrm rot="10800000">
              <a:off x="2509838" y="0"/>
              <a:ext cx="3538537" cy="3505200"/>
            </a:xfrm>
            <a:prstGeom prst="rtTriangle">
              <a:avLst/>
            </a:prstGeom>
            <a:solidFill>
              <a:srgbClr val="172E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14806DD-98B9-4EA0-BF0B-9902CCD88D2E}"/>
                </a:ext>
              </a:extLst>
            </p:cNvPr>
            <p:cNvSpPr/>
            <p:nvPr/>
          </p:nvSpPr>
          <p:spPr>
            <a:xfrm rot="10800000">
              <a:off x="5589408" y="2606222"/>
              <a:ext cx="458967" cy="898977"/>
            </a:xfrm>
            <a:custGeom>
              <a:avLst/>
              <a:gdLst>
                <a:gd name="connsiteX0" fmla="*/ 0 w 453112"/>
                <a:gd name="connsiteY0" fmla="*/ 887508 h 887508"/>
                <a:gd name="connsiteX1" fmla="*/ 0 w 453112"/>
                <a:gd name="connsiteY1" fmla="*/ 0 h 887508"/>
                <a:gd name="connsiteX2" fmla="*/ 453112 w 453112"/>
                <a:gd name="connsiteY2" fmla="*/ 448844 h 887508"/>
                <a:gd name="connsiteX3" fmla="*/ 0 w 453112"/>
                <a:gd name="connsiteY3" fmla="*/ 887508 h 887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12" h="887508">
                  <a:moveTo>
                    <a:pt x="0" y="887508"/>
                  </a:moveTo>
                  <a:lnTo>
                    <a:pt x="0" y="0"/>
                  </a:lnTo>
                  <a:lnTo>
                    <a:pt x="453112" y="448844"/>
                  </a:lnTo>
                  <a:lnTo>
                    <a:pt x="0" y="887508"/>
                  </a:lnTo>
                  <a:close/>
                </a:path>
              </a:pathLst>
            </a:custGeom>
            <a:solidFill>
              <a:srgbClr val="152B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032A88-1ED9-42C8-A1EC-DD58A599C17A}"/>
                </a:ext>
              </a:extLst>
            </p:cNvPr>
            <p:cNvSpPr/>
            <p:nvPr/>
          </p:nvSpPr>
          <p:spPr>
            <a:xfrm>
              <a:off x="2070101" y="5677919"/>
              <a:ext cx="1586633" cy="778863"/>
            </a:xfrm>
            <a:custGeom>
              <a:avLst/>
              <a:gdLst>
                <a:gd name="connsiteX0" fmla="*/ 804517 w 1586633"/>
                <a:gd name="connsiteY0" fmla="*/ 0 h 778863"/>
                <a:gd name="connsiteX1" fmla="*/ 1586633 w 1586633"/>
                <a:gd name="connsiteY1" fmla="*/ 778863 h 778863"/>
                <a:gd name="connsiteX2" fmla="*/ 0 w 1586633"/>
                <a:gd name="connsiteY2" fmla="*/ 778863 h 77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6633" h="778863">
                  <a:moveTo>
                    <a:pt x="804517" y="0"/>
                  </a:moveTo>
                  <a:lnTo>
                    <a:pt x="1586633" y="778863"/>
                  </a:lnTo>
                  <a:lnTo>
                    <a:pt x="0" y="778863"/>
                  </a:lnTo>
                  <a:close/>
                </a:path>
              </a:pathLst>
            </a:custGeom>
            <a:solidFill>
              <a:srgbClr val="152B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err="1"/>
            </a:p>
          </p:txBody>
        </p: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17D2B185-3465-A845-BDCB-56B9CD3C42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46" y="1828800"/>
            <a:ext cx="3511154" cy="2851667"/>
          </a:xfrm>
          <a:ln>
            <a:noFill/>
          </a:ln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bg1"/>
                </a:solidFill>
                <a:latin typeface="+mj-lt"/>
              </a:defRPr>
            </a:lvl2pPr>
            <a:lvl3pPr>
              <a:defRPr sz="1350">
                <a:solidFill>
                  <a:schemeClr val="bg1"/>
                </a:solidFill>
                <a:latin typeface="+mj-lt"/>
              </a:defRPr>
            </a:lvl3pPr>
            <a:lvl4pPr>
              <a:defRPr sz="1200">
                <a:solidFill>
                  <a:schemeClr val="bg1"/>
                </a:solidFill>
                <a:latin typeface="+mj-lt"/>
              </a:defRPr>
            </a:lvl4pPr>
            <a:lvl5pPr>
              <a:defRPr sz="105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0EB1A-F962-43F1-A1AF-FF2B30BF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971550"/>
            <a:ext cx="3511151" cy="635742"/>
          </a:xfrm>
          <a:ln>
            <a:noFill/>
          </a:ln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717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erson dancing in colorful lights">
            <a:extLst>
              <a:ext uri="{FF2B5EF4-FFF2-40B4-BE49-F238E27FC236}">
                <a16:creationId xmlns:a16="http://schemas.microsoft.com/office/drawing/2014/main" id="{662629CC-62F7-4D36-9E7D-2950EE22932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3" t="-117" r="23117" b="5967"/>
          <a:stretch/>
        </p:blipFill>
        <p:spPr>
          <a:xfrm>
            <a:off x="1" y="-9297"/>
            <a:ext cx="4536281" cy="4842587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42587"/>
          </a:xfrm>
          <a:prstGeom prst="rect">
            <a:avLst/>
          </a:prstGeom>
          <a:solidFill>
            <a:schemeClr val="accent1">
              <a:alpha val="54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C869D7-F21D-433F-8C84-7796561542DE}"/>
              </a:ext>
            </a:extLst>
          </p:cNvPr>
          <p:cNvSpPr/>
          <p:nvPr/>
        </p:nvSpPr>
        <p:spPr>
          <a:xfrm>
            <a:off x="4536282" y="1"/>
            <a:ext cx="379588" cy="4833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425CF39-12DB-44AB-8C39-C6E48050086D}"/>
              </a:ext>
            </a:extLst>
          </p:cNvPr>
          <p:cNvGrpSpPr/>
          <p:nvPr/>
        </p:nvGrpSpPr>
        <p:grpSpPr>
          <a:xfrm>
            <a:off x="0" y="4834889"/>
            <a:ext cx="9144000" cy="308610"/>
            <a:chOff x="0" y="6446519"/>
            <a:chExt cx="12192000" cy="411480"/>
          </a:xfrm>
        </p:grpSpPr>
        <p:grpSp>
          <p:nvGrpSpPr>
            <p:cNvPr id="16" name="Graphic 7">
              <a:extLst>
                <a:ext uri="{FF2B5EF4-FFF2-40B4-BE49-F238E27FC236}">
                  <a16:creationId xmlns:a16="http://schemas.microsoft.com/office/drawing/2014/main" id="{F7B630E6-B5C6-4327-860D-D24C0FF421EB}"/>
                </a:ext>
              </a:extLst>
            </p:cNvPr>
            <p:cNvGrpSpPr/>
            <p:nvPr/>
          </p:nvGrpSpPr>
          <p:grpSpPr>
            <a:xfrm>
              <a:off x="0" y="6446519"/>
              <a:ext cx="12192000" cy="411480"/>
              <a:chOff x="0" y="6446519"/>
              <a:chExt cx="12192000" cy="411480"/>
            </a:xfrm>
            <a:solidFill>
              <a:schemeClr val="accent1"/>
            </a:solidFill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AD5B7B8A-BB95-4D64-BC01-F5DA76BBE3FB}"/>
                  </a:ext>
                </a:extLst>
              </p:cNvPr>
              <p:cNvSpPr/>
              <p:nvPr/>
            </p:nvSpPr>
            <p:spPr>
              <a:xfrm>
                <a:off x="0" y="6446519"/>
                <a:ext cx="8041767" cy="411480"/>
              </a:xfrm>
              <a:custGeom>
                <a:avLst/>
                <a:gdLst>
                  <a:gd name="connsiteX0" fmla="*/ 8041768 w 8041767"/>
                  <a:gd name="connsiteY0" fmla="*/ 0 h 411480"/>
                  <a:gd name="connsiteX1" fmla="*/ 0 w 8041767"/>
                  <a:gd name="connsiteY1" fmla="*/ 0 h 411480"/>
                  <a:gd name="connsiteX2" fmla="*/ 0 w 8041767"/>
                  <a:gd name="connsiteY2" fmla="*/ 411480 h 411480"/>
                  <a:gd name="connsiteX3" fmla="*/ 7630287 w 8041767"/>
                  <a:gd name="connsiteY3" fmla="*/ 411480 h 411480"/>
                  <a:gd name="connsiteX4" fmla="*/ 8041768 w 8041767"/>
                  <a:gd name="connsiteY4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41767" h="411480">
                    <a:moveTo>
                      <a:pt x="8041768" y="0"/>
                    </a:moveTo>
                    <a:lnTo>
                      <a:pt x="0" y="0"/>
                    </a:lnTo>
                    <a:lnTo>
                      <a:pt x="0" y="411480"/>
                    </a:lnTo>
                    <a:lnTo>
                      <a:pt x="7630287" y="411480"/>
                    </a:lnTo>
                    <a:lnTo>
                      <a:pt x="8041768" y="0"/>
                    </a:lnTo>
                    <a:close/>
                  </a:path>
                </a:pathLst>
              </a:custGeom>
              <a:solidFill>
                <a:srgbClr val="0D4E9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49B8D137-45B8-474F-8602-CB9AAAC86733}"/>
                  </a:ext>
                </a:extLst>
              </p:cNvPr>
              <p:cNvSpPr/>
              <p:nvPr/>
            </p:nvSpPr>
            <p:spPr>
              <a:xfrm>
                <a:off x="10128217" y="6446519"/>
                <a:ext cx="2063782" cy="411480"/>
              </a:xfrm>
              <a:custGeom>
                <a:avLst/>
                <a:gdLst>
                  <a:gd name="connsiteX0" fmla="*/ 411481 w 2063782"/>
                  <a:gd name="connsiteY0" fmla="*/ 0 h 411480"/>
                  <a:gd name="connsiteX1" fmla="*/ 0 w 2063782"/>
                  <a:gd name="connsiteY1" fmla="*/ 411480 h 411480"/>
                  <a:gd name="connsiteX2" fmla="*/ 2063782 w 2063782"/>
                  <a:gd name="connsiteY2" fmla="*/ 411480 h 411480"/>
                  <a:gd name="connsiteX3" fmla="*/ 2063782 w 2063782"/>
                  <a:gd name="connsiteY3" fmla="*/ 0 h 411480"/>
                  <a:gd name="connsiteX4" fmla="*/ 411481 w 2063782"/>
                  <a:gd name="connsiteY4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3782" h="411480">
                    <a:moveTo>
                      <a:pt x="411481" y="0"/>
                    </a:moveTo>
                    <a:lnTo>
                      <a:pt x="0" y="411480"/>
                    </a:lnTo>
                    <a:lnTo>
                      <a:pt x="2063782" y="411480"/>
                    </a:lnTo>
                    <a:lnTo>
                      <a:pt x="2063782" y="0"/>
                    </a:lnTo>
                    <a:lnTo>
                      <a:pt x="411481" y="0"/>
                    </a:lnTo>
                    <a:close/>
                  </a:path>
                </a:pathLst>
              </a:custGeom>
              <a:solidFill>
                <a:srgbClr val="1B36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E7A6FB79-CA15-4948-AC77-948E19453A92}"/>
                  </a:ext>
                </a:extLst>
              </p:cNvPr>
              <p:cNvSpPr/>
              <p:nvPr/>
            </p:nvSpPr>
            <p:spPr>
              <a:xfrm>
                <a:off x="7630287" y="6446519"/>
                <a:ext cx="2909411" cy="411480"/>
              </a:xfrm>
              <a:custGeom>
                <a:avLst/>
                <a:gdLst>
                  <a:gd name="connsiteX0" fmla="*/ 2909411 w 2909411"/>
                  <a:gd name="connsiteY0" fmla="*/ 0 h 411480"/>
                  <a:gd name="connsiteX1" fmla="*/ 411480 w 2909411"/>
                  <a:gd name="connsiteY1" fmla="*/ 0 h 411480"/>
                  <a:gd name="connsiteX2" fmla="*/ 0 w 2909411"/>
                  <a:gd name="connsiteY2" fmla="*/ 411480 h 411480"/>
                  <a:gd name="connsiteX3" fmla="*/ 2497931 w 2909411"/>
                  <a:gd name="connsiteY3" fmla="*/ 411480 h 411480"/>
                  <a:gd name="connsiteX4" fmla="*/ 2909411 w 2909411"/>
                  <a:gd name="connsiteY4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9411" h="411480">
                    <a:moveTo>
                      <a:pt x="2909411" y="0"/>
                    </a:moveTo>
                    <a:lnTo>
                      <a:pt x="411480" y="0"/>
                    </a:lnTo>
                    <a:lnTo>
                      <a:pt x="0" y="411480"/>
                    </a:lnTo>
                    <a:lnTo>
                      <a:pt x="2497931" y="411480"/>
                    </a:lnTo>
                    <a:lnTo>
                      <a:pt x="2909411" y="0"/>
                    </a:lnTo>
                    <a:close/>
                  </a:path>
                </a:pathLst>
              </a:custGeom>
              <a:solidFill>
                <a:srgbClr val="40699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88829B5A-D48E-470B-AF7D-A757D75648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11064" t="25850" r="11371" b="26766"/>
            <a:stretch/>
          </p:blipFill>
          <p:spPr>
            <a:xfrm>
              <a:off x="465625" y="6544949"/>
              <a:ext cx="865204" cy="2101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63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remove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building, sidewalk, way&#10;&#10;Description automatically generated">
            <a:extLst>
              <a:ext uri="{FF2B5EF4-FFF2-40B4-BE49-F238E27FC236}">
                <a16:creationId xmlns:a16="http://schemas.microsoft.com/office/drawing/2014/main" id="{42197A65-07A0-4429-ABE5-4D0EB51CEB0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16" t="201"/>
          <a:stretch/>
        </p:blipFill>
        <p:spPr>
          <a:xfrm>
            <a:off x="0" y="0"/>
            <a:ext cx="4527105" cy="4833728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25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eople in meeting room">
            <a:extLst>
              <a:ext uri="{FF2B5EF4-FFF2-40B4-BE49-F238E27FC236}">
                <a16:creationId xmlns:a16="http://schemas.microsoft.com/office/drawing/2014/main" id="{834FF4C0-4059-477A-AFB3-378C23E958F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8" r="24444" b="5614"/>
          <a:stretch/>
        </p:blipFill>
        <p:spPr>
          <a:xfrm>
            <a:off x="0" y="2098"/>
            <a:ext cx="4527105" cy="484383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54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20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H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15EA52-0AA1-C741-92F5-9CB86E1EF4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D8D159A-83B3-F849-82A5-D8820F5A531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0310" y="1395567"/>
            <a:ext cx="2226329" cy="750898"/>
          </a:xfrm>
        </p:spPr>
        <p:txBody>
          <a:bodyPr/>
          <a:lstStyle/>
          <a:p>
            <a:r>
              <a:rPr lang="en-US"/>
              <a:t>Product logo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36B8-5F6A-D242-A995-F3775F3872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0310" y="2311236"/>
            <a:ext cx="2760719" cy="1331520"/>
          </a:xfrm>
        </p:spPr>
        <p:txBody>
          <a:bodyPr lIns="0" rIns="0"/>
          <a:lstStyle>
            <a:lvl1pPr marL="0" indent="0">
              <a:lnSpc>
                <a:spcPts val="1650"/>
              </a:lnSpc>
              <a:spcBef>
                <a:spcPts val="0"/>
              </a:spcBef>
              <a:buNone/>
              <a:defRPr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E29E00-6E91-314E-BD2C-D3A29544C9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94166" y="374073"/>
            <a:ext cx="5174813" cy="4221740"/>
          </a:xfrm>
        </p:spPr>
        <p:txBody>
          <a:bodyPr/>
          <a:lstStyle/>
          <a:p>
            <a:r>
              <a:rPr lang="en-US"/>
              <a:t>Product hero</a:t>
            </a:r>
          </a:p>
        </p:txBody>
      </p:sp>
    </p:spTree>
    <p:extLst>
      <p:ext uri="{BB962C8B-B14F-4D97-AF65-F5344CB8AC3E}">
        <p14:creationId xmlns:p14="http://schemas.microsoft.com/office/powerpoint/2010/main" val="373560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hild with superhero costume">
            <a:extLst>
              <a:ext uri="{FF2B5EF4-FFF2-40B4-BE49-F238E27FC236}">
                <a16:creationId xmlns:a16="http://schemas.microsoft.com/office/drawing/2014/main" id="{A55D0C65-AA26-43E2-B331-6148559A6D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7055"/>
          <a:stretch/>
        </p:blipFill>
        <p:spPr>
          <a:xfrm>
            <a:off x="-1" y="0"/>
            <a:ext cx="4527106" cy="484285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54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66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erson skateboarding at park">
            <a:extLst>
              <a:ext uri="{FF2B5EF4-FFF2-40B4-BE49-F238E27FC236}">
                <a16:creationId xmlns:a16="http://schemas.microsoft.com/office/drawing/2014/main" id="{C3F555A1-166F-41DE-8327-6A482CCAE0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7" t="48" b="5797"/>
          <a:stretch/>
        </p:blipFill>
        <p:spPr>
          <a:xfrm>
            <a:off x="0" y="-4677"/>
            <a:ext cx="4527105" cy="484285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66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69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Woman posing outdoors">
            <a:extLst>
              <a:ext uri="{FF2B5EF4-FFF2-40B4-BE49-F238E27FC236}">
                <a16:creationId xmlns:a16="http://schemas.microsoft.com/office/drawing/2014/main" id="{A46A846B-509F-4217-A5BF-879D34F7759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04" t="5971" r="18269"/>
          <a:stretch/>
        </p:blipFill>
        <p:spPr>
          <a:xfrm>
            <a:off x="1" y="0"/>
            <a:ext cx="4502945" cy="4836404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64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41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hild wearing astronaut helmet looking out window">
            <a:extLst>
              <a:ext uri="{FF2B5EF4-FFF2-40B4-BE49-F238E27FC236}">
                <a16:creationId xmlns:a16="http://schemas.microsoft.com/office/drawing/2014/main" id="{DE15D87D-0730-4A91-8536-26EA119E80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26"/>
          <a:stretch/>
        </p:blipFill>
        <p:spPr>
          <a:xfrm>
            <a:off x="0" y="-445"/>
            <a:ext cx="4527105" cy="483751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4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88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erson lifting big present">
            <a:extLst>
              <a:ext uri="{FF2B5EF4-FFF2-40B4-BE49-F238E27FC236}">
                <a16:creationId xmlns:a16="http://schemas.microsoft.com/office/drawing/2014/main" id="{40CDCE61-CE43-4509-8377-C396839EE5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7" t="3644" r="14232"/>
          <a:stretch/>
        </p:blipFill>
        <p:spPr>
          <a:xfrm>
            <a:off x="0" y="0"/>
            <a:ext cx="4527105" cy="48459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5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94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motorcycle tire on a dusty dirt road">
            <a:extLst>
              <a:ext uri="{FF2B5EF4-FFF2-40B4-BE49-F238E27FC236}">
                <a16:creationId xmlns:a16="http://schemas.microsoft.com/office/drawing/2014/main" id="{15474D6D-FBE7-4890-BE11-8D54504086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7" r="33729"/>
          <a:stretch/>
        </p:blipFill>
        <p:spPr>
          <a:xfrm flipH="1">
            <a:off x="0" y="-900"/>
            <a:ext cx="4527105" cy="48384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4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78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raditional cat charm">
            <a:extLst>
              <a:ext uri="{FF2B5EF4-FFF2-40B4-BE49-F238E27FC236}">
                <a16:creationId xmlns:a16="http://schemas.microsoft.com/office/drawing/2014/main" id="{5A502EFD-9A12-4340-B8ED-CE03F92DB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6" t="394" r="14173" b="-394"/>
          <a:stretch/>
        </p:blipFill>
        <p:spPr>
          <a:xfrm>
            <a:off x="0" y="0"/>
            <a:ext cx="4518547" cy="487439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1"/>
            <a:ext cx="4527105" cy="4855226"/>
          </a:xfrm>
          <a:prstGeom prst="rect">
            <a:avLst/>
          </a:prstGeom>
          <a:solidFill>
            <a:schemeClr val="accent1">
              <a:alpha val="63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6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Woman with mohawk">
            <a:extLst>
              <a:ext uri="{FF2B5EF4-FFF2-40B4-BE49-F238E27FC236}">
                <a16:creationId xmlns:a16="http://schemas.microsoft.com/office/drawing/2014/main" id="{E0A60BFB-8F85-4D08-9F1A-32F15AB8D4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11" b="5785"/>
          <a:stretch/>
        </p:blipFill>
        <p:spPr>
          <a:xfrm>
            <a:off x="0" y="1"/>
            <a:ext cx="4543425" cy="48459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68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37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wo Content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ored pencils on black background">
            <a:extLst>
              <a:ext uri="{FF2B5EF4-FFF2-40B4-BE49-F238E27FC236}">
                <a16:creationId xmlns:a16="http://schemas.microsoft.com/office/drawing/2014/main" id="{6ACACCA3-04E6-4472-91A8-DBC9592880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2" r="12455" b="5785"/>
          <a:stretch/>
        </p:blipFill>
        <p:spPr>
          <a:xfrm>
            <a:off x="0" y="0"/>
            <a:ext cx="4527105" cy="484593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1DAB767-B1A2-478B-B7F1-B7E4605DEEDA}"/>
              </a:ext>
            </a:extLst>
          </p:cNvPr>
          <p:cNvSpPr/>
          <p:nvPr/>
        </p:nvSpPr>
        <p:spPr>
          <a:xfrm>
            <a:off x="0" y="-9297"/>
            <a:ext cx="4527105" cy="4855226"/>
          </a:xfrm>
          <a:prstGeom prst="rect">
            <a:avLst/>
          </a:prstGeom>
          <a:solidFill>
            <a:schemeClr val="accent1">
              <a:alpha val="44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err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1056" y="971550"/>
            <a:ext cx="4000024" cy="3713505"/>
          </a:xfrm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A6770-9F47-4BF3-9D52-11ABF5F02A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567A07-C4F9-432B-A5F5-2034EB51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52E14-7137-48CD-96C1-64758629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3DADF95-6122-4899-8C49-5233E6FDB6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3871" y="1541977"/>
            <a:ext cx="3525806" cy="156942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[Insert Subtitle Here]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91C349-8460-42AE-9587-1EC2D6BB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535075"/>
            <a:ext cx="3525806" cy="950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lick to edit Master title style</a:t>
            </a:r>
            <a:endParaRPr lang="de-AT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9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hirds /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7CA3A-A27F-4124-85E1-594A0D712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0F987-64A7-458D-A758-EE38E047F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7AAF2C-4243-4267-812B-2FD3CB47B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E4A3EE-B55E-4F19-9274-53585DFCB8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9347" y="971550"/>
            <a:ext cx="5390134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34612" y="971513"/>
            <a:ext cx="2612898" cy="37141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690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4938">
          <p15:clr>
            <a:srgbClr val="FBAE40"/>
          </p15:clr>
        </p15:guide>
        <p15:guide id="2" pos="50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entere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8183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15444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BD2786-0B84-5646-AC59-B4CC08BAF37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8650" y="1371600"/>
            <a:ext cx="7886700" cy="3287316"/>
          </a:xfrm>
        </p:spPr>
        <p:txBody>
          <a:bodyPr rIns="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820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7CA3A-A27F-4124-85E1-594A0D712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0F987-64A7-458D-A758-EE38E047F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7AAF2C-4243-4267-812B-2FD3CB47B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7551" y="971550"/>
            <a:ext cx="5394722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826942A-CD52-45AB-BD2A-DBEE06603BA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9347" y="971550"/>
            <a:ext cx="2614613" cy="709613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350"/>
            </a:lvl1pPr>
          </a:lstStyle>
          <a:p>
            <a:r>
              <a:rPr lang="en-US"/>
              <a:t>Insert logo here (remove placeholder and place logo manually if needed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9EA4789-3E51-4DF8-8A2E-5BFC9BF416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47" y="2057400"/>
            <a:ext cx="2614613" cy="262771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289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7">
          <p15:clr>
            <a:srgbClr val="FBAE40"/>
          </p15:clr>
        </p15:guide>
        <p15:guide id="2" pos="2733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orient="horz" pos="151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c 6">
            <a:extLst>
              <a:ext uri="{FF2B5EF4-FFF2-40B4-BE49-F238E27FC236}">
                <a16:creationId xmlns:a16="http://schemas.microsoft.com/office/drawing/2014/main" id="{3DFC48DD-BA45-4AD6-AA56-D087A281B66D}"/>
              </a:ext>
            </a:extLst>
          </p:cNvPr>
          <p:cNvGrpSpPr/>
          <p:nvPr/>
        </p:nvGrpSpPr>
        <p:grpSpPr>
          <a:xfrm>
            <a:off x="0" y="3572"/>
            <a:ext cx="9144000" cy="5139928"/>
            <a:chOff x="0" y="4762"/>
            <a:chExt cx="12192000" cy="6853237"/>
          </a:xfrm>
          <a:solidFill>
            <a:schemeClr val="accent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5031294-5AEF-49AB-A3E0-6D7AF3CC7444}"/>
                </a:ext>
              </a:extLst>
            </p:cNvPr>
            <p:cNvSpPr/>
            <p:nvPr/>
          </p:nvSpPr>
          <p:spPr>
            <a:xfrm>
              <a:off x="8143017" y="4762"/>
              <a:ext cx="4048410" cy="4051173"/>
            </a:xfrm>
            <a:custGeom>
              <a:avLst/>
              <a:gdLst>
                <a:gd name="connsiteX0" fmla="*/ 4048411 w 4048410"/>
                <a:gd name="connsiteY0" fmla="*/ 0 h 4051173"/>
                <a:gd name="connsiteX1" fmla="*/ 0 w 4048410"/>
                <a:gd name="connsiteY1" fmla="*/ 4051173 h 4051173"/>
                <a:gd name="connsiteX2" fmla="*/ 2293049 w 4048410"/>
                <a:gd name="connsiteY2" fmla="*/ 4051173 h 4051173"/>
                <a:gd name="connsiteX3" fmla="*/ 4048411 w 4048410"/>
                <a:gd name="connsiteY3" fmla="*/ 2283905 h 4051173"/>
                <a:gd name="connsiteX4" fmla="*/ 4048411 w 4048410"/>
                <a:gd name="connsiteY4" fmla="*/ 0 h 405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410" h="4051173">
                  <a:moveTo>
                    <a:pt x="4048411" y="0"/>
                  </a:moveTo>
                  <a:lnTo>
                    <a:pt x="0" y="4051173"/>
                  </a:lnTo>
                  <a:lnTo>
                    <a:pt x="2293049" y="4051173"/>
                  </a:lnTo>
                  <a:lnTo>
                    <a:pt x="4048411" y="2283905"/>
                  </a:lnTo>
                  <a:lnTo>
                    <a:pt x="4048411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D6DEAD9-652F-43F0-B567-CCFA267D38E4}"/>
                </a:ext>
              </a:extLst>
            </p:cNvPr>
            <p:cNvSpPr/>
            <p:nvPr/>
          </p:nvSpPr>
          <p:spPr>
            <a:xfrm>
              <a:off x="8041671" y="4050982"/>
              <a:ext cx="4150328" cy="2395537"/>
            </a:xfrm>
            <a:custGeom>
              <a:avLst/>
              <a:gdLst>
                <a:gd name="connsiteX0" fmla="*/ 4150328 w 4150328"/>
                <a:gd name="connsiteY0" fmla="*/ 0 h 2395537"/>
                <a:gd name="connsiteX1" fmla="*/ 2395633 w 4150328"/>
                <a:gd name="connsiteY1" fmla="*/ 0 h 2395537"/>
                <a:gd name="connsiteX2" fmla="*/ 0 w 4150328"/>
                <a:gd name="connsiteY2" fmla="*/ 2395538 h 2395537"/>
                <a:gd name="connsiteX3" fmla="*/ 2508599 w 4150328"/>
                <a:gd name="connsiteY3" fmla="*/ 2395538 h 2395537"/>
                <a:gd name="connsiteX4" fmla="*/ 4150328 w 4150328"/>
                <a:gd name="connsiteY4" fmla="*/ 753809 h 2395537"/>
                <a:gd name="connsiteX5" fmla="*/ 4150328 w 4150328"/>
                <a:gd name="connsiteY5" fmla="*/ 0 h 239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0328" h="2395537">
                  <a:moveTo>
                    <a:pt x="4150328" y="0"/>
                  </a:moveTo>
                  <a:lnTo>
                    <a:pt x="2395633" y="0"/>
                  </a:lnTo>
                  <a:lnTo>
                    <a:pt x="0" y="2395538"/>
                  </a:lnTo>
                  <a:lnTo>
                    <a:pt x="2508599" y="2395538"/>
                  </a:lnTo>
                  <a:lnTo>
                    <a:pt x="4150328" y="753809"/>
                  </a:lnTo>
                  <a:lnTo>
                    <a:pt x="4150328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1510791-E2B0-4BA7-8381-C471FABCE11D}"/>
                </a:ext>
              </a:extLst>
            </p:cNvPr>
            <p:cNvSpPr/>
            <p:nvPr/>
          </p:nvSpPr>
          <p:spPr>
            <a:xfrm>
              <a:off x="10539698" y="4794218"/>
              <a:ext cx="1652301" cy="1652301"/>
            </a:xfrm>
            <a:custGeom>
              <a:avLst/>
              <a:gdLst>
                <a:gd name="connsiteX0" fmla="*/ 1652302 w 1652301"/>
                <a:gd name="connsiteY0" fmla="*/ 0 h 1652301"/>
                <a:gd name="connsiteX1" fmla="*/ 0 w 1652301"/>
                <a:gd name="connsiteY1" fmla="*/ 1652302 h 1652301"/>
                <a:gd name="connsiteX2" fmla="*/ 1652302 w 1652301"/>
                <a:gd name="connsiteY2" fmla="*/ 1652302 h 1652301"/>
                <a:gd name="connsiteX3" fmla="*/ 1652302 w 1652301"/>
                <a:gd name="connsiteY3" fmla="*/ 0 h 1652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2301" h="1652301">
                  <a:moveTo>
                    <a:pt x="1652302" y="0"/>
                  </a:moveTo>
                  <a:lnTo>
                    <a:pt x="0" y="1652302"/>
                  </a:lnTo>
                  <a:lnTo>
                    <a:pt x="1652302" y="1652302"/>
                  </a:lnTo>
                  <a:lnTo>
                    <a:pt x="1652302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B37C87-6FED-41E2-B734-5644DA4F1307}"/>
                </a:ext>
              </a:extLst>
            </p:cNvPr>
            <p:cNvSpPr/>
            <p:nvPr/>
          </p:nvSpPr>
          <p:spPr>
            <a:xfrm>
              <a:off x="8144161" y="4050982"/>
              <a:ext cx="2293048" cy="1146524"/>
            </a:xfrm>
            <a:custGeom>
              <a:avLst/>
              <a:gdLst>
                <a:gd name="connsiteX0" fmla="*/ 2293049 w 2293048"/>
                <a:gd name="connsiteY0" fmla="*/ 0 h 1146524"/>
                <a:gd name="connsiteX1" fmla="*/ 1146524 w 2293048"/>
                <a:gd name="connsiteY1" fmla="*/ 1146524 h 1146524"/>
                <a:gd name="connsiteX2" fmla="*/ 0 w 2293048"/>
                <a:gd name="connsiteY2" fmla="*/ 0 h 1146524"/>
                <a:gd name="connsiteX3" fmla="*/ 2293049 w 2293048"/>
                <a:gd name="connsiteY3" fmla="*/ 0 h 1146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048" h="1146524">
                  <a:moveTo>
                    <a:pt x="2293049" y="0"/>
                  </a:moveTo>
                  <a:lnTo>
                    <a:pt x="1146524" y="1146524"/>
                  </a:lnTo>
                  <a:lnTo>
                    <a:pt x="0" y="0"/>
                  </a:lnTo>
                  <a:lnTo>
                    <a:pt x="2293049" y="0"/>
                  </a:lnTo>
                  <a:close/>
                </a:path>
              </a:pathLst>
            </a:custGeom>
            <a:solidFill>
              <a:srgbClr val="0521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6597733-88FA-40D4-84C1-55D4D4E8F384}"/>
                </a:ext>
              </a:extLst>
            </p:cNvPr>
            <p:cNvSpPr/>
            <p:nvPr/>
          </p:nvSpPr>
          <p:spPr>
            <a:xfrm>
              <a:off x="8041671" y="5197506"/>
              <a:ext cx="2498026" cy="1249013"/>
            </a:xfrm>
            <a:custGeom>
              <a:avLst/>
              <a:gdLst>
                <a:gd name="connsiteX0" fmla="*/ 2498027 w 2498026"/>
                <a:gd name="connsiteY0" fmla="*/ 1249013 h 1249013"/>
                <a:gd name="connsiteX1" fmla="*/ 1249013 w 2498026"/>
                <a:gd name="connsiteY1" fmla="*/ 0 h 1249013"/>
                <a:gd name="connsiteX2" fmla="*/ 0 w 2498026"/>
                <a:gd name="connsiteY2" fmla="*/ 1249013 h 1249013"/>
                <a:gd name="connsiteX3" fmla="*/ 2498027 w 2498026"/>
                <a:gd name="connsiteY3" fmla="*/ 1249013 h 124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026" h="1249013">
                  <a:moveTo>
                    <a:pt x="2498027" y="1249013"/>
                  </a:moveTo>
                  <a:lnTo>
                    <a:pt x="1249013" y="0"/>
                  </a:lnTo>
                  <a:lnTo>
                    <a:pt x="0" y="1249013"/>
                  </a:lnTo>
                  <a:lnTo>
                    <a:pt x="2498027" y="1249013"/>
                  </a:ln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B202400-6B7E-43D0-A68D-ABD8F38F82AC}"/>
                </a:ext>
              </a:extLst>
            </p:cNvPr>
            <p:cNvSpPr/>
            <p:nvPr/>
          </p:nvSpPr>
          <p:spPr>
            <a:xfrm>
              <a:off x="10001821" y="3427475"/>
              <a:ext cx="1054703" cy="1058894"/>
            </a:xfrm>
            <a:custGeom>
              <a:avLst/>
              <a:gdLst>
                <a:gd name="connsiteX0" fmla="*/ 1 w 1054703"/>
                <a:gd name="connsiteY0" fmla="*/ 1058894 h 1058894"/>
                <a:gd name="connsiteX1" fmla="*/ 1054704 w 1054703"/>
                <a:gd name="connsiteY1" fmla="*/ 0 h 105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4703" h="1058894">
                  <a:moveTo>
                    <a:pt x="1" y="1058894"/>
                  </a:moveTo>
                  <a:lnTo>
                    <a:pt x="1054704" y="0"/>
                  </a:lnTo>
                </a:path>
              </a:pathLst>
            </a:custGeom>
            <a:ln w="95155" cap="flat">
              <a:solidFill>
                <a:srgbClr val="D2D75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A526CA-B6D0-4C62-92E0-7742008EAB6F}"/>
                </a:ext>
              </a:extLst>
            </p:cNvPr>
            <p:cNvSpPr/>
            <p:nvPr/>
          </p:nvSpPr>
          <p:spPr>
            <a:xfrm>
              <a:off x="0" y="6446519"/>
              <a:ext cx="8041767" cy="411480"/>
            </a:xfrm>
            <a:custGeom>
              <a:avLst/>
              <a:gdLst>
                <a:gd name="connsiteX0" fmla="*/ 8041768 w 8041767"/>
                <a:gd name="connsiteY0" fmla="*/ 0 h 411480"/>
                <a:gd name="connsiteX1" fmla="*/ 0 w 8041767"/>
                <a:gd name="connsiteY1" fmla="*/ 0 h 411480"/>
                <a:gd name="connsiteX2" fmla="*/ 0 w 8041767"/>
                <a:gd name="connsiteY2" fmla="*/ 411480 h 411480"/>
                <a:gd name="connsiteX3" fmla="*/ 7630287 w 8041767"/>
                <a:gd name="connsiteY3" fmla="*/ 411480 h 411480"/>
                <a:gd name="connsiteX4" fmla="*/ 8041768 w 8041767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767" h="411480">
                  <a:moveTo>
                    <a:pt x="8041768" y="0"/>
                  </a:moveTo>
                  <a:lnTo>
                    <a:pt x="0" y="0"/>
                  </a:lnTo>
                  <a:lnTo>
                    <a:pt x="0" y="411480"/>
                  </a:lnTo>
                  <a:lnTo>
                    <a:pt x="7630287" y="411480"/>
                  </a:lnTo>
                  <a:lnTo>
                    <a:pt x="8041768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4C57ECA-8A55-4A48-B62E-537751B85838}"/>
                </a:ext>
              </a:extLst>
            </p:cNvPr>
            <p:cNvSpPr/>
            <p:nvPr/>
          </p:nvSpPr>
          <p:spPr>
            <a:xfrm>
              <a:off x="10128217" y="6446519"/>
              <a:ext cx="2063782" cy="411480"/>
            </a:xfrm>
            <a:custGeom>
              <a:avLst/>
              <a:gdLst>
                <a:gd name="connsiteX0" fmla="*/ 411481 w 2063782"/>
                <a:gd name="connsiteY0" fmla="*/ 0 h 411480"/>
                <a:gd name="connsiteX1" fmla="*/ 0 w 2063782"/>
                <a:gd name="connsiteY1" fmla="*/ 411480 h 411480"/>
                <a:gd name="connsiteX2" fmla="*/ 2063782 w 2063782"/>
                <a:gd name="connsiteY2" fmla="*/ 411480 h 411480"/>
                <a:gd name="connsiteX3" fmla="*/ 2063782 w 2063782"/>
                <a:gd name="connsiteY3" fmla="*/ 0 h 411480"/>
                <a:gd name="connsiteX4" fmla="*/ 411481 w 2063782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782" h="411480">
                  <a:moveTo>
                    <a:pt x="411481" y="0"/>
                  </a:moveTo>
                  <a:lnTo>
                    <a:pt x="0" y="411480"/>
                  </a:lnTo>
                  <a:lnTo>
                    <a:pt x="2063782" y="411480"/>
                  </a:lnTo>
                  <a:lnTo>
                    <a:pt x="2063782" y="0"/>
                  </a:lnTo>
                  <a:lnTo>
                    <a:pt x="411481" y="0"/>
                  </a:lnTo>
                  <a:close/>
                </a:path>
              </a:pathLst>
            </a:custGeom>
            <a:solidFill>
              <a:srgbClr val="1B36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00A0F26-0ECD-489D-B6DB-17C26F636273}"/>
                </a:ext>
              </a:extLst>
            </p:cNvPr>
            <p:cNvSpPr/>
            <p:nvPr/>
          </p:nvSpPr>
          <p:spPr>
            <a:xfrm>
              <a:off x="7630287" y="6446519"/>
              <a:ext cx="2909411" cy="411480"/>
            </a:xfrm>
            <a:custGeom>
              <a:avLst/>
              <a:gdLst>
                <a:gd name="connsiteX0" fmla="*/ 2909411 w 2909411"/>
                <a:gd name="connsiteY0" fmla="*/ 0 h 411480"/>
                <a:gd name="connsiteX1" fmla="*/ 411480 w 2909411"/>
                <a:gd name="connsiteY1" fmla="*/ 0 h 411480"/>
                <a:gd name="connsiteX2" fmla="*/ 0 w 2909411"/>
                <a:gd name="connsiteY2" fmla="*/ 411480 h 411480"/>
                <a:gd name="connsiteX3" fmla="*/ 2497931 w 2909411"/>
                <a:gd name="connsiteY3" fmla="*/ 411480 h 411480"/>
                <a:gd name="connsiteX4" fmla="*/ 2909411 w 2909411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411" h="411480">
                  <a:moveTo>
                    <a:pt x="2909411" y="0"/>
                  </a:moveTo>
                  <a:lnTo>
                    <a:pt x="411480" y="0"/>
                  </a:lnTo>
                  <a:lnTo>
                    <a:pt x="0" y="411480"/>
                  </a:lnTo>
                  <a:lnTo>
                    <a:pt x="2497931" y="411480"/>
                  </a:lnTo>
                  <a:lnTo>
                    <a:pt x="2909411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85AFA45-B9BF-4380-84CD-DFA217CB9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8" y="206899"/>
            <a:ext cx="7683103" cy="536051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4E92C-14A1-452F-8B24-642609FE06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C0ED78-D602-45AF-BF79-714C6A446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D2DED5-87D9-42BE-9CCA-B218AF01A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B79197-F6AF-4224-A0F2-CBBD948435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971550"/>
            <a:ext cx="5454253" cy="371356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14350" indent="-342900">
              <a:buFont typeface="+mj-lt"/>
              <a:buAutoNum type="arabicPeriod"/>
              <a:defRPr/>
            </a:lvl2pPr>
            <a:lvl3pPr marL="600075" indent="-257175">
              <a:buFont typeface="+mj-lt"/>
              <a:buAutoNum type="arabicPeriod"/>
              <a:defRPr/>
            </a:lvl3pPr>
            <a:lvl4pPr marL="771525" indent="-257175">
              <a:buFont typeface="+mj-lt"/>
              <a:buAutoNum type="arabicPeriod"/>
              <a:defRPr/>
            </a:lvl4pPr>
            <a:lvl5pPr marL="942975" indent="-257175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9B052AD-1F28-433B-A218-AD5B2ADDA11D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8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C7CC3D-4C46-4591-A1A8-76BE4DEA28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9144000" cy="4793382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[Click icon to insert imag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19B01-1931-459E-A1BC-29BC08696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8206" y="1543051"/>
            <a:ext cx="8158163" cy="53605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Insert Title and Change Font Color to White as Needed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2C94C9-78BB-4EA4-8967-2FA80631B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D26733-F592-46E8-9FA3-EC6FC5C6CA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F69422-B90B-41D6-A93A-926C3241E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01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49FF86-ABF9-4337-BDBB-FDCE34B049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10281F-7451-4996-BC5D-20EED4D88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B1C23C-18C0-40DE-9F00-AD32EBC50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7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3181350 w 3181350"/>
              <a:gd name="connsiteY3" fmla="*/ 310895 h 310896"/>
              <a:gd name="connsiteX4" fmla="*/ 3181350 w 3181350"/>
              <a:gd name="connsiteY4" fmla="*/ 310896 h 310896"/>
              <a:gd name="connsiteX5" fmla="*/ 0 w 3181350"/>
              <a:gd name="connsiteY5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3181350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0 w 3181350"/>
              <a:gd name="connsiteY3" fmla="*/ 310896 h 310896"/>
              <a:gd name="connsiteX4" fmla="*/ 0 w 3181350"/>
              <a:gd name="connsiteY4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287801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5169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5259 h 310896"/>
              <a:gd name="connsiteX3" fmla="*/ 2883146 w 3181350"/>
              <a:gd name="connsiteY3" fmla="*/ 310896 h 310896"/>
              <a:gd name="connsiteX4" fmla="*/ 0 w 3181350"/>
              <a:gd name="connsiteY4" fmla="*/ 310896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5259"/>
                </a:lnTo>
                <a:lnTo>
                  <a:pt x="2883146" y="310896"/>
                </a:lnTo>
                <a:lnTo>
                  <a:pt x="0" y="31089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34612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5261 h 310896"/>
              <a:gd name="connsiteX3" fmla="*/ 2883148 w 3181350"/>
              <a:gd name="connsiteY3" fmla="*/ 310896 h 310896"/>
              <a:gd name="connsiteX4" fmla="*/ 0 w 3181350"/>
              <a:gd name="connsiteY4" fmla="*/ 310896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5261"/>
                </a:lnTo>
                <a:lnTo>
                  <a:pt x="2883148" y="310896"/>
                </a:lnTo>
                <a:lnTo>
                  <a:pt x="0" y="31089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347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4570"/>
                </a:lnTo>
                <a:lnTo>
                  <a:pt x="288247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5169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5"/>
                </a:lnTo>
                <a:lnTo>
                  <a:pt x="288024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4612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6"/>
                </a:lnTo>
                <a:lnTo>
                  <a:pt x="288024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9347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4570"/>
                </a:lnTo>
                <a:lnTo>
                  <a:pt x="288247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55169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5"/>
                </a:lnTo>
                <a:lnTo>
                  <a:pt x="288024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4612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6"/>
                </a:lnTo>
                <a:lnTo>
                  <a:pt x="288024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</p:spTree>
    <p:extLst>
      <p:ext uri="{BB962C8B-B14F-4D97-AF65-F5344CB8AC3E}">
        <p14:creationId xmlns:p14="http://schemas.microsoft.com/office/powerpoint/2010/main" val="107629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734">
          <p15:clr>
            <a:srgbClr val="FBAE40"/>
          </p15:clr>
        </p15:guide>
        <p15:guide id="2" pos="2611">
          <p15:clr>
            <a:srgbClr val="FBAE40"/>
          </p15:clr>
        </p15:guide>
        <p15:guide id="3" pos="4940">
          <p15:clr>
            <a:srgbClr val="FBAE40"/>
          </p15:clr>
        </p15:guide>
        <p15:guide id="4" pos="505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49FF86-ABF9-4337-BDBB-FDCE34B049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10281F-7451-4996-BC5D-20EED4D88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B1C23C-18C0-40DE-9F00-AD32EBC50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1209947"/>
            <a:ext cx="1396603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432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6715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2531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250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22531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62432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671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9347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671D35-7C29-423D-B542-0F586763C790}"/>
              </a:ext>
            </a:extLst>
          </p:cNvPr>
          <p:cNvCxnSpPr>
            <a:cxnSpLocks/>
          </p:cNvCxnSpPr>
          <p:nvPr/>
        </p:nvCxnSpPr>
        <p:spPr>
          <a:xfrm>
            <a:off x="489347" y="2743200"/>
            <a:ext cx="816292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4C6647-B079-446B-AA8D-5B4DFB5940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2505" y="3012717"/>
            <a:ext cx="1398767" cy="1039884"/>
          </a:xfrm>
        </p:spPr>
        <p:txBody>
          <a:bodyPr anchor="t">
            <a:noAutofit/>
          </a:bodyPr>
          <a:lstStyle>
            <a:lvl1pPr>
              <a:defRPr sz="1050"/>
            </a:lvl1pPr>
            <a:lvl2pPr marL="171450" indent="0">
              <a:buNone/>
              <a:defRPr/>
            </a:lvl2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1D1857-A729-4929-8734-503DD3D68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347" y="2454181"/>
            <a:ext cx="1399032" cy="274320"/>
          </a:xfrm>
          <a:prstGeom prst="rect">
            <a:avLst/>
          </a:prstGeom>
          <a:ln>
            <a:noFill/>
            <a:bevel/>
            <a:headEnd type="none" w="med" len="med"/>
            <a:tailEnd type="none" w="med" len="med"/>
          </a:ln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80E44C-4A2D-4661-AD22-BB24C15D3D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22532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B43FDB-A6F2-4060-91A6-8E96774AD2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2431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F1F0739-9660-4447-B3E7-73C480F03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6715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BB6C881-9C1D-4D94-AE7C-212446E92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504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4469A45-AC07-4939-BD36-B7C8309EBD6D}"/>
              </a:ext>
            </a:extLst>
          </p:cNvPr>
          <p:cNvCxnSpPr>
            <a:cxnSpLocks/>
          </p:cNvCxnSpPr>
          <p:nvPr/>
        </p:nvCxnSpPr>
        <p:spPr>
          <a:xfrm>
            <a:off x="489347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1CD60C-6072-4BF3-98B8-99C49F48F12B}"/>
              </a:ext>
            </a:extLst>
          </p:cNvPr>
          <p:cNvCxnSpPr>
            <a:cxnSpLocks/>
          </p:cNvCxnSpPr>
          <p:nvPr/>
        </p:nvCxnSpPr>
        <p:spPr>
          <a:xfrm>
            <a:off x="2122532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BA9941D-6D6D-462F-B0C7-FDE8FB232F17}"/>
              </a:ext>
            </a:extLst>
          </p:cNvPr>
          <p:cNvCxnSpPr>
            <a:cxnSpLocks/>
          </p:cNvCxnSpPr>
          <p:nvPr/>
        </p:nvCxnSpPr>
        <p:spPr>
          <a:xfrm>
            <a:off x="3757613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3AEC5B3-F4A2-434A-A88D-D6EB5EEFD11C}"/>
              </a:ext>
            </a:extLst>
          </p:cNvPr>
          <p:cNvCxnSpPr>
            <a:cxnSpLocks/>
          </p:cNvCxnSpPr>
          <p:nvPr/>
        </p:nvCxnSpPr>
        <p:spPr>
          <a:xfrm>
            <a:off x="5384006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D0FF1AE-B051-43C4-B478-25C9FF963716}"/>
              </a:ext>
            </a:extLst>
          </p:cNvPr>
          <p:cNvCxnSpPr>
            <a:cxnSpLocks/>
          </p:cNvCxnSpPr>
          <p:nvPr/>
        </p:nvCxnSpPr>
        <p:spPr>
          <a:xfrm>
            <a:off x="7019925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4347A8D-8D3D-470C-B3AF-EE5654AD31C2}"/>
              </a:ext>
            </a:extLst>
          </p:cNvPr>
          <p:cNvSpPr/>
          <p:nvPr/>
        </p:nvSpPr>
        <p:spPr>
          <a:xfrm>
            <a:off x="6991350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066184E-51B6-47D7-AE97-17999DAFCC5E}"/>
              </a:ext>
            </a:extLst>
          </p:cNvPr>
          <p:cNvSpPr/>
          <p:nvPr/>
        </p:nvSpPr>
        <p:spPr>
          <a:xfrm>
            <a:off x="5355431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6C33653-7B96-48E2-A96C-A8941F5EA7CB}"/>
              </a:ext>
            </a:extLst>
          </p:cNvPr>
          <p:cNvSpPr/>
          <p:nvPr/>
        </p:nvSpPr>
        <p:spPr>
          <a:xfrm>
            <a:off x="3729038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5A9EBB-AD97-432E-B603-644FB25C4F7B}"/>
              </a:ext>
            </a:extLst>
          </p:cNvPr>
          <p:cNvSpPr/>
          <p:nvPr/>
        </p:nvSpPr>
        <p:spPr>
          <a:xfrm>
            <a:off x="2096099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D0AD25-E239-4962-BC9B-8F79D23F7F92}"/>
              </a:ext>
            </a:extLst>
          </p:cNvPr>
          <p:cNvSpPr/>
          <p:nvPr/>
        </p:nvSpPr>
        <p:spPr>
          <a:xfrm>
            <a:off x="460772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259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156">
          <p15:clr>
            <a:srgbClr val="FBAE40"/>
          </p15:clr>
        </p15:guide>
        <p15:guide id="2" pos="1781">
          <p15:clr>
            <a:srgbClr val="FBAE40"/>
          </p15:clr>
        </p15:guide>
        <p15:guide id="3" pos="4522">
          <p15:clr>
            <a:srgbClr val="FBAE40"/>
          </p15:clr>
        </p15:guide>
        <p15:guide id="4" pos="589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Mov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49FF86-ABF9-4337-BDBB-FDCE34B049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10281F-7451-4996-BC5D-20EED4D88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B1C23C-18C0-40DE-9F00-AD32EBC50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1209947"/>
            <a:ext cx="1396603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432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6715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2531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250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22531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62432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671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9347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/>
              <a:t>[Insert text]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671D35-7C29-423D-B542-0F586763C790}"/>
              </a:ext>
            </a:extLst>
          </p:cNvPr>
          <p:cNvCxnSpPr>
            <a:cxnSpLocks/>
          </p:cNvCxnSpPr>
          <p:nvPr/>
        </p:nvCxnSpPr>
        <p:spPr>
          <a:xfrm>
            <a:off x="489347" y="2743200"/>
            <a:ext cx="816292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4C6647-B079-446B-AA8D-5B4DFB5940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2505" y="3017766"/>
            <a:ext cx="1398767" cy="1039884"/>
          </a:xfrm>
        </p:spPr>
        <p:txBody>
          <a:bodyPr anchor="t">
            <a:noAutofit/>
          </a:bodyPr>
          <a:lstStyle>
            <a:lvl1pPr>
              <a:defRPr sz="1050"/>
            </a:lvl1pPr>
            <a:lvl2pPr marL="171450" indent="0">
              <a:buNone/>
              <a:defRPr/>
            </a:lvl2pPr>
          </a:lstStyle>
          <a:p>
            <a:pPr lvl="0"/>
            <a:r>
              <a:rPr lang="en-US"/>
              <a:t>[Insert text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1D1857-A729-4929-8734-503DD3D68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347" y="2286001"/>
            <a:ext cx="1399032" cy="688865"/>
          </a:xfrm>
          <a:prstGeom prst="accentCallout1">
            <a:avLst>
              <a:gd name="adj1" fmla="val 65508"/>
              <a:gd name="adj2" fmla="val 86"/>
              <a:gd name="adj3" fmla="val 65889"/>
              <a:gd name="adj4" fmla="val -61"/>
            </a:avLst>
          </a:prstGeom>
          <a:ln cap="rnd">
            <a:solidFill>
              <a:schemeClr val="accent1"/>
            </a:solidFill>
            <a:bevel/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80E44C-4A2D-4661-AD22-BB24C15D3D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22531" y="2286000"/>
            <a:ext cx="1399032" cy="688181"/>
          </a:xfrm>
          <a:prstGeom prst="accentCallout1">
            <a:avLst>
              <a:gd name="adj1" fmla="val 65924"/>
              <a:gd name="adj2" fmla="val -252"/>
              <a:gd name="adj3" fmla="val 63269"/>
              <a:gd name="adj4" fmla="val -404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B43FDB-A6F2-4060-91A6-8E96774AD2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2431" y="2286000"/>
            <a:ext cx="1399032" cy="688181"/>
          </a:xfrm>
          <a:prstGeom prst="accentCallout1">
            <a:avLst>
              <a:gd name="adj1" fmla="val 66674"/>
              <a:gd name="adj2" fmla="val -622"/>
              <a:gd name="adj3" fmla="val 69055"/>
              <a:gd name="adj4" fmla="val 222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F1F0739-9660-4447-B3E7-73C480F03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6715" y="2286000"/>
            <a:ext cx="1399032" cy="688181"/>
          </a:xfrm>
          <a:prstGeom prst="accentCallout1">
            <a:avLst>
              <a:gd name="adj1" fmla="val 66450"/>
              <a:gd name="adj2" fmla="val -401"/>
              <a:gd name="adj3" fmla="val 65696"/>
              <a:gd name="adj4" fmla="val -329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BB6C881-9C1D-4D94-AE7C-212446E92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504" y="2286000"/>
            <a:ext cx="1399032" cy="688181"/>
          </a:xfrm>
          <a:prstGeom prst="accentCallout1">
            <a:avLst>
              <a:gd name="adj1" fmla="val 65415"/>
              <a:gd name="adj2" fmla="val -292"/>
              <a:gd name="adj3" fmla="val 65781"/>
              <a:gd name="adj4" fmla="val -464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425749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156">
          <p15:clr>
            <a:srgbClr val="FBAE40"/>
          </p15:clr>
        </p15:guide>
        <p15:guide id="2" pos="1781">
          <p15:clr>
            <a:srgbClr val="FBAE40"/>
          </p15:clr>
        </p15:guide>
        <p15:guide id="3" pos="4522">
          <p15:clr>
            <a:srgbClr val="FBAE40"/>
          </p15:clr>
        </p15:guide>
        <p15:guide id="4" pos="589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3D075-2D2A-432B-A997-D5993EB179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348" y="975160"/>
            <a:ext cx="4010169" cy="308385"/>
          </a:xfrm>
        </p:spPr>
        <p:txBody>
          <a:bodyPr tIns="0" bIns="0" anchor="t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9F82A4-080D-41BF-B4A7-7E4FACCED8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9348" y="1428750"/>
            <a:ext cx="4010169" cy="325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AB3100-2FB8-47F1-8100-0FBAE4AEF7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3738" y="975160"/>
            <a:ext cx="4011930" cy="308385"/>
          </a:xfrm>
        </p:spPr>
        <p:txBody>
          <a:bodyPr tIns="0" bIns="0" anchor="t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8BA0B-4EA0-48FF-8698-F2CB788CC4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3738" y="1428750"/>
            <a:ext cx="4011930" cy="325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32F647-FBD3-4D46-9714-C0D779A808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760753-8345-48D3-823E-E7799D85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BB99D5-02A7-45F0-B534-B6581DF58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5A8E38F-F454-4E0C-98DB-2A7A7146F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760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98">
          <p15:clr>
            <a:srgbClr val="FBAE40"/>
          </p15:clr>
        </p15:guide>
        <p15:guide id="2" pos="377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916F4-C38C-43B6-B235-3D502D1227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347" y="974558"/>
            <a:ext cx="5461397" cy="37105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459137-F3DC-4BFD-A914-BD2F074799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86475" y="974558"/>
            <a:ext cx="2568178" cy="371055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841241-AD4B-40FC-B359-5F905A3F5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FCE36F-6757-4C81-8D75-C1BA7445B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C39E91-7C9F-4996-8A46-74B61923F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A4749DF-7520-4440-97E4-23F09CDEB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233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4998">
          <p15:clr>
            <a:srgbClr val="FBAE40"/>
          </p15:clr>
        </p15:guide>
        <p15:guide id="2" pos="511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79EB3B-AD57-4FF5-A996-C5EBDB21A6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200400" y="974558"/>
            <a:ext cx="5454252" cy="3710552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CBA5EB-F56B-47B9-BCFC-3B0559DDC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9348" y="974558"/>
            <a:ext cx="2559117" cy="371055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260082-1007-4952-8649-24426F4D28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171AC9-0212-4534-A51A-C46280077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1692D0-CA86-4657-B84A-59748B830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191005-C272-4DA5-8C75-888452C14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561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560">
          <p15:clr>
            <a:srgbClr val="FBAE40"/>
          </p15:clr>
        </p15:guide>
        <p15:guide id="2" pos="26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~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C1E3B62-6B93-4CD8-A0FD-73045DF01E3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>
                <a:latin typeface="+mj-lt"/>
              </a:rPr>
              <a:t>Do Not Use Slide Layouts After This</a:t>
            </a:r>
          </a:p>
        </p:txBody>
      </p:sp>
    </p:spTree>
    <p:extLst>
      <p:ext uri="{BB962C8B-B14F-4D97-AF65-F5344CB8AC3E}">
        <p14:creationId xmlns:p14="http://schemas.microsoft.com/office/powerpoint/2010/main" val="262538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81838"/>
            <a:ext cx="7886700" cy="405493"/>
          </a:xfrm>
        </p:spPr>
        <p:txBody>
          <a:bodyPr rIns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715444"/>
            <a:ext cx="7886700" cy="232037"/>
          </a:xfrm>
        </p:spPr>
        <p:txBody>
          <a:bodyPr rIns="0">
            <a:noAutofit/>
          </a:bodyPr>
          <a:lstStyle>
            <a:lvl1pPr marL="0" indent="0" algn="l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BD2786-0B84-5646-AC59-B4CC08BAF37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8650" y="1371600"/>
            <a:ext cx="7886700" cy="3287316"/>
          </a:xfrm>
        </p:spPr>
        <p:txBody>
          <a:bodyPr rIns="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9124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4DBDF5-F0FF-4BAB-A542-27C16504F0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4A0CDC-2F36-426C-80AA-FE2E1F4F5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F547B6-87AA-43C9-9E1D-3574C141F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07226BF-68DB-4968-9A5F-34BB3DADA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A8063C-7A11-4535-8FA1-2D81C58A0A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9347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6BB947E-0A0E-429F-A7E3-CA05D4EC1AC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65551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36C9D73-3B53-4757-8E5D-A4CC768E6D2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34612" y="971550"/>
            <a:ext cx="2612898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766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8">
          <p15:clr>
            <a:srgbClr val="FBAE40"/>
          </p15:clr>
        </p15:guide>
        <p15:guide id="2" pos="4937">
          <p15:clr>
            <a:srgbClr val="FBAE40"/>
          </p15:clr>
        </p15:guide>
        <p15:guide id="3" pos="5070">
          <p15:clr>
            <a:srgbClr val="FBAE40"/>
          </p15:clr>
        </p15:guide>
        <p15:guide id="4" pos="274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Third /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7CA3A-A27F-4124-85E1-594A0D712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0F987-64A7-458D-A758-EE38E047F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1" y="4845930"/>
            <a:ext cx="4008863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7AAF2C-4243-4267-812B-2FD3CB47B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E4A3EE-B55E-4F19-9274-53585DFCB8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9347" y="971587"/>
            <a:ext cx="2615097" cy="37129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7551" y="971550"/>
            <a:ext cx="5394722" cy="371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112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7">
          <p15:clr>
            <a:srgbClr val="FBAE40"/>
          </p15:clr>
        </p15:guide>
        <p15:guide id="2" pos="273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4A6F3-1AD7-4877-6655-ABB416BCFC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D4EBDA-07F3-96AC-0066-E659A68AF3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10142B-871F-E066-B5BD-36A60EB67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7DDBC0-7D41-A280-C986-CBF5C82C7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9A16B-B8FE-0F10-66BC-D72F782A8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03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183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9DDA3A-52E2-D5CB-116C-67B0635115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0" y="-16928"/>
            <a:ext cx="9147600" cy="51604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BCD4FA-1DD7-44F1-92EE-79F7D5C3F5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79" y="1491630"/>
            <a:ext cx="5484803" cy="1394623"/>
          </a:xfrm>
        </p:spPr>
        <p:txBody>
          <a:bodyPr anchor="b">
            <a:noAutofit/>
          </a:bodyPr>
          <a:lstStyle>
            <a:lvl1pPr algn="l">
              <a:defRPr sz="3000" b="1"/>
            </a:lvl1pPr>
          </a:lstStyle>
          <a:p>
            <a:r>
              <a:rPr lang="en-US" dirty="0"/>
              <a:t>[Insert title her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D38753-5618-4399-98B6-641235EA5E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348" y="3175552"/>
            <a:ext cx="5471837" cy="767797"/>
          </a:xfrm>
        </p:spPr>
        <p:txBody>
          <a:bodyPr>
            <a:no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[Insert subtitle here]</a:t>
            </a:r>
          </a:p>
        </p:txBody>
      </p:sp>
      <p:grpSp>
        <p:nvGrpSpPr>
          <p:cNvPr id="14" name="Graphic 6">
            <a:extLst>
              <a:ext uri="{FF2B5EF4-FFF2-40B4-BE49-F238E27FC236}">
                <a16:creationId xmlns:a16="http://schemas.microsoft.com/office/drawing/2014/main" id="{6A318EF2-F713-47CA-BFAF-32E41F0D01D9}"/>
              </a:ext>
            </a:extLst>
          </p:cNvPr>
          <p:cNvGrpSpPr/>
          <p:nvPr/>
        </p:nvGrpSpPr>
        <p:grpSpPr>
          <a:xfrm>
            <a:off x="494478" y="381039"/>
            <a:ext cx="2105699" cy="433430"/>
            <a:chOff x="335933" y="374658"/>
            <a:chExt cx="3130969" cy="644467"/>
          </a:xfrm>
          <a:solidFill>
            <a:srgbClr val="0D4E96"/>
          </a:solidFill>
        </p:grpSpPr>
        <p:grpSp>
          <p:nvGrpSpPr>
            <p:cNvPr id="15" name="Graphic 6">
              <a:extLst>
                <a:ext uri="{FF2B5EF4-FFF2-40B4-BE49-F238E27FC236}">
                  <a16:creationId xmlns:a16="http://schemas.microsoft.com/office/drawing/2014/main" id="{BFB1FC13-4601-43F1-BD0E-12379D73F080}"/>
                </a:ext>
              </a:extLst>
            </p:cNvPr>
            <p:cNvGrpSpPr/>
            <p:nvPr/>
          </p:nvGrpSpPr>
          <p:grpSpPr>
            <a:xfrm>
              <a:off x="1000369" y="435515"/>
              <a:ext cx="2466533" cy="515146"/>
              <a:chOff x="1000369" y="435515"/>
              <a:chExt cx="2466533" cy="515146"/>
            </a:xfrm>
            <a:solidFill>
              <a:srgbClr val="0D4E96"/>
            </a:solidFill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3C04A37-4BDC-4123-9386-472B0D8D23CE}"/>
                  </a:ext>
                </a:extLst>
              </p:cNvPr>
              <p:cNvSpPr/>
              <p:nvPr/>
            </p:nvSpPr>
            <p:spPr>
              <a:xfrm>
                <a:off x="1000369" y="447876"/>
                <a:ext cx="410191" cy="495771"/>
              </a:xfrm>
              <a:custGeom>
                <a:avLst/>
                <a:gdLst>
                  <a:gd name="connsiteX0" fmla="*/ 410191 w 410191"/>
                  <a:gd name="connsiteY0" fmla="*/ 0 h 495771"/>
                  <a:gd name="connsiteX1" fmla="*/ 0 w 410191"/>
                  <a:gd name="connsiteY1" fmla="*/ 0 h 495771"/>
                  <a:gd name="connsiteX2" fmla="*/ 0 w 410191"/>
                  <a:gd name="connsiteY2" fmla="*/ 75953 h 495771"/>
                  <a:gd name="connsiteX3" fmla="*/ 164980 w 410191"/>
                  <a:gd name="connsiteY3" fmla="*/ 75953 h 495771"/>
                  <a:gd name="connsiteX4" fmla="*/ 164980 w 410191"/>
                  <a:gd name="connsiteY4" fmla="*/ 495772 h 495771"/>
                  <a:gd name="connsiteX5" fmla="*/ 245211 w 410191"/>
                  <a:gd name="connsiteY5" fmla="*/ 495772 h 495771"/>
                  <a:gd name="connsiteX6" fmla="*/ 245211 w 410191"/>
                  <a:gd name="connsiteY6" fmla="*/ 75953 h 495771"/>
                  <a:gd name="connsiteX7" fmla="*/ 410191 w 410191"/>
                  <a:gd name="connsiteY7" fmla="*/ 75953 h 495771"/>
                  <a:gd name="connsiteX8" fmla="*/ 410191 w 410191"/>
                  <a:gd name="connsiteY8" fmla="*/ 0 h 49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0191" h="495771">
                    <a:moveTo>
                      <a:pt x="410191" y="0"/>
                    </a:moveTo>
                    <a:lnTo>
                      <a:pt x="0" y="0"/>
                    </a:lnTo>
                    <a:lnTo>
                      <a:pt x="0" y="75953"/>
                    </a:lnTo>
                    <a:lnTo>
                      <a:pt x="164980" y="75953"/>
                    </a:lnTo>
                    <a:lnTo>
                      <a:pt x="164980" y="495772"/>
                    </a:lnTo>
                    <a:lnTo>
                      <a:pt x="245211" y="495772"/>
                    </a:lnTo>
                    <a:lnTo>
                      <a:pt x="245211" y="75953"/>
                    </a:lnTo>
                    <a:lnTo>
                      <a:pt x="410191" y="75953"/>
                    </a:lnTo>
                    <a:lnTo>
                      <a:pt x="410191" y="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AA0A0D2-4A44-4C24-897B-727048EEF762}"/>
                  </a:ext>
                </a:extLst>
              </p:cNvPr>
              <p:cNvSpPr/>
              <p:nvPr/>
            </p:nvSpPr>
            <p:spPr>
              <a:xfrm>
                <a:off x="1346613" y="569672"/>
                <a:ext cx="215377" cy="373976"/>
              </a:xfrm>
              <a:custGeom>
                <a:avLst/>
                <a:gdLst>
                  <a:gd name="connsiteX0" fmla="*/ 78686 w 215377"/>
                  <a:gd name="connsiteY0" fmla="*/ 49841 h 373976"/>
                  <a:gd name="connsiteX1" fmla="*/ 71317 w 215377"/>
                  <a:gd name="connsiteY1" fmla="*/ 6932 h 373976"/>
                  <a:gd name="connsiteX2" fmla="*/ 0 w 215377"/>
                  <a:gd name="connsiteY2" fmla="*/ 6932 h 373976"/>
                  <a:gd name="connsiteX3" fmla="*/ 0 w 215377"/>
                  <a:gd name="connsiteY3" fmla="*/ 373976 h 373976"/>
                  <a:gd name="connsiteX4" fmla="*/ 80113 w 215377"/>
                  <a:gd name="connsiteY4" fmla="*/ 373976 h 373976"/>
                  <a:gd name="connsiteX5" fmla="*/ 80113 w 215377"/>
                  <a:gd name="connsiteY5" fmla="*/ 131023 h 373976"/>
                  <a:gd name="connsiteX6" fmla="*/ 129678 w 215377"/>
                  <a:gd name="connsiteY6" fmla="*/ 92393 h 373976"/>
                  <a:gd name="connsiteX7" fmla="*/ 200995 w 215377"/>
                  <a:gd name="connsiteY7" fmla="*/ 77417 h 373976"/>
                  <a:gd name="connsiteX8" fmla="*/ 215377 w 215377"/>
                  <a:gd name="connsiteY8" fmla="*/ 77417 h 373976"/>
                  <a:gd name="connsiteX9" fmla="*/ 215377 w 215377"/>
                  <a:gd name="connsiteY9" fmla="*/ 38 h 373976"/>
                  <a:gd name="connsiteX10" fmla="*/ 200995 w 215377"/>
                  <a:gd name="connsiteY10" fmla="*/ 38 h 373976"/>
                  <a:gd name="connsiteX11" fmla="*/ 78686 w 215377"/>
                  <a:gd name="connsiteY11" fmla="*/ 49841 h 37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5377" h="373976">
                    <a:moveTo>
                      <a:pt x="78686" y="49841"/>
                    </a:moveTo>
                    <a:lnTo>
                      <a:pt x="71317" y="6932"/>
                    </a:lnTo>
                    <a:lnTo>
                      <a:pt x="0" y="6932"/>
                    </a:lnTo>
                    <a:lnTo>
                      <a:pt x="0" y="373976"/>
                    </a:lnTo>
                    <a:lnTo>
                      <a:pt x="80113" y="373976"/>
                    </a:lnTo>
                    <a:lnTo>
                      <a:pt x="80113" y="131023"/>
                    </a:lnTo>
                    <a:cubicBezTo>
                      <a:pt x="93045" y="114107"/>
                      <a:pt x="110113" y="100804"/>
                      <a:pt x="129678" y="92393"/>
                    </a:cubicBezTo>
                    <a:cubicBezTo>
                      <a:pt x="152131" y="82423"/>
                      <a:pt x="176426" y="77319"/>
                      <a:pt x="200995" y="77417"/>
                    </a:cubicBezTo>
                    <a:lnTo>
                      <a:pt x="215377" y="77417"/>
                    </a:lnTo>
                    <a:lnTo>
                      <a:pt x="215377" y="38"/>
                    </a:lnTo>
                    <a:lnTo>
                      <a:pt x="200995" y="38"/>
                    </a:lnTo>
                    <a:cubicBezTo>
                      <a:pt x="155103" y="-941"/>
                      <a:pt x="110838" y="17080"/>
                      <a:pt x="78686" y="49841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grpSp>
            <p:nvGrpSpPr>
              <p:cNvPr id="32" name="Graphic 6">
                <a:extLst>
                  <a:ext uri="{FF2B5EF4-FFF2-40B4-BE49-F238E27FC236}">
                    <a16:creationId xmlns:a16="http://schemas.microsoft.com/office/drawing/2014/main" id="{1018E060-F71B-4686-BC0C-CFDA850345EE}"/>
                  </a:ext>
                </a:extLst>
              </p:cNvPr>
              <p:cNvGrpSpPr/>
              <p:nvPr/>
            </p:nvGrpSpPr>
            <p:grpSpPr>
              <a:xfrm>
                <a:off x="1602284" y="435515"/>
                <a:ext cx="84986" cy="508252"/>
                <a:chOff x="1602284" y="435515"/>
                <a:chExt cx="84986" cy="508252"/>
              </a:xfrm>
              <a:solidFill>
                <a:srgbClr val="0D4E96"/>
              </a:solidFill>
            </p:grpSpPr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257C4F79-498B-4B07-B577-A16A2F4357BC}"/>
                    </a:ext>
                  </a:extLst>
                </p:cNvPr>
                <p:cNvSpPr/>
                <p:nvPr/>
              </p:nvSpPr>
              <p:spPr>
                <a:xfrm>
                  <a:off x="1602284" y="435515"/>
                  <a:ext cx="84986" cy="84986"/>
                </a:xfrm>
                <a:custGeom>
                  <a:avLst/>
                  <a:gdLst>
                    <a:gd name="connsiteX0" fmla="*/ 0 w 84986"/>
                    <a:gd name="connsiteY0" fmla="*/ 0 h 84986"/>
                    <a:gd name="connsiteX1" fmla="*/ 84986 w 84986"/>
                    <a:gd name="connsiteY1" fmla="*/ 0 h 84986"/>
                    <a:gd name="connsiteX2" fmla="*/ 84986 w 84986"/>
                    <a:gd name="connsiteY2" fmla="*/ 84986 h 84986"/>
                    <a:gd name="connsiteX3" fmla="*/ 0 w 84986"/>
                    <a:gd name="connsiteY3" fmla="*/ 84986 h 84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986" h="84986">
                      <a:moveTo>
                        <a:pt x="0" y="0"/>
                      </a:moveTo>
                      <a:lnTo>
                        <a:pt x="84986" y="0"/>
                      </a:lnTo>
                      <a:lnTo>
                        <a:pt x="84986" y="84986"/>
                      </a:lnTo>
                      <a:lnTo>
                        <a:pt x="0" y="84986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5179338B-8999-4A5F-90F9-F0003CF78A44}"/>
                    </a:ext>
                  </a:extLst>
                </p:cNvPr>
                <p:cNvSpPr/>
                <p:nvPr/>
              </p:nvSpPr>
              <p:spPr>
                <a:xfrm>
                  <a:off x="1604661" y="576603"/>
                  <a:ext cx="80112" cy="367163"/>
                </a:xfrm>
                <a:custGeom>
                  <a:avLst/>
                  <a:gdLst>
                    <a:gd name="connsiteX0" fmla="*/ 0 w 80112"/>
                    <a:gd name="connsiteY0" fmla="*/ 0 h 367163"/>
                    <a:gd name="connsiteX1" fmla="*/ 80113 w 80112"/>
                    <a:gd name="connsiteY1" fmla="*/ 0 h 367163"/>
                    <a:gd name="connsiteX2" fmla="*/ 80113 w 80112"/>
                    <a:gd name="connsiteY2" fmla="*/ 367163 h 367163"/>
                    <a:gd name="connsiteX3" fmla="*/ 0 w 80112"/>
                    <a:gd name="connsiteY3" fmla="*/ 367163 h 36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12" h="367163">
                      <a:moveTo>
                        <a:pt x="0" y="0"/>
                      </a:moveTo>
                      <a:lnTo>
                        <a:pt x="80113" y="0"/>
                      </a:lnTo>
                      <a:lnTo>
                        <a:pt x="80113" y="367163"/>
                      </a:lnTo>
                      <a:lnTo>
                        <a:pt x="0" y="367163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</p:grp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AA3860D-2783-4658-87A9-0ACA60EFD0DC}"/>
                  </a:ext>
                </a:extLst>
              </p:cNvPr>
              <p:cNvSpPr/>
              <p:nvPr/>
            </p:nvSpPr>
            <p:spPr>
              <a:xfrm>
                <a:off x="2415654" y="569609"/>
                <a:ext cx="330150" cy="374039"/>
              </a:xfrm>
              <a:custGeom>
                <a:avLst/>
                <a:gdLst>
                  <a:gd name="connsiteX0" fmla="*/ 198737 w 330150"/>
                  <a:gd name="connsiteY0" fmla="*/ 101 h 374039"/>
                  <a:gd name="connsiteX1" fmla="*/ 78924 w 330150"/>
                  <a:gd name="connsiteY1" fmla="*/ 50974 h 374039"/>
                  <a:gd name="connsiteX2" fmla="*/ 71317 w 330150"/>
                  <a:gd name="connsiteY2" fmla="*/ 6995 h 374039"/>
                  <a:gd name="connsiteX3" fmla="*/ 0 w 330150"/>
                  <a:gd name="connsiteY3" fmla="*/ 6995 h 374039"/>
                  <a:gd name="connsiteX4" fmla="*/ 0 w 330150"/>
                  <a:gd name="connsiteY4" fmla="*/ 374039 h 374039"/>
                  <a:gd name="connsiteX5" fmla="*/ 80113 w 330150"/>
                  <a:gd name="connsiteY5" fmla="*/ 374039 h 374039"/>
                  <a:gd name="connsiteX6" fmla="*/ 80113 w 330150"/>
                  <a:gd name="connsiteY6" fmla="*/ 135484 h 374039"/>
                  <a:gd name="connsiteX7" fmla="*/ 183522 w 330150"/>
                  <a:gd name="connsiteY7" fmla="*/ 76053 h 374039"/>
                  <a:gd name="connsiteX8" fmla="*/ 249966 w 330150"/>
                  <a:gd name="connsiteY8" fmla="*/ 150699 h 374039"/>
                  <a:gd name="connsiteX9" fmla="*/ 249966 w 330150"/>
                  <a:gd name="connsiteY9" fmla="*/ 374039 h 374039"/>
                  <a:gd name="connsiteX10" fmla="*/ 330079 w 330150"/>
                  <a:gd name="connsiteY10" fmla="*/ 374039 h 374039"/>
                  <a:gd name="connsiteX11" fmla="*/ 330079 w 330150"/>
                  <a:gd name="connsiteY11" fmla="*/ 143210 h 374039"/>
                  <a:gd name="connsiteX12" fmla="*/ 295133 w 330150"/>
                  <a:gd name="connsiteY12" fmla="*/ 41584 h 374039"/>
                  <a:gd name="connsiteX13" fmla="*/ 198737 w 330150"/>
                  <a:gd name="connsiteY13" fmla="*/ 101 h 374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30150" h="374039">
                    <a:moveTo>
                      <a:pt x="198737" y="101"/>
                    </a:moveTo>
                    <a:cubicBezTo>
                      <a:pt x="153641" y="541"/>
                      <a:pt x="110553" y="18834"/>
                      <a:pt x="78924" y="50974"/>
                    </a:cubicBezTo>
                    <a:lnTo>
                      <a:pt x="71317" y="6995"/>
                    </a:lnTo>
                    <a:lnTo>
                      <a:pt x="0" y="6995"/>
                    </a:lnTo>
                    <a:lnTo>
                      <a:pt x="0" y="374039"/>
                    </a:lnTo>
                    <a:lnTo>
                      <a:pt x="80113" y="374039"/>
                    </a:lnTo>
                    <a:lnTo>
                      <a:pt x="80113" y="135484"/>
                    </a:lnTo>
                    <a:cubicBezTo>
                      <a:pt x="112800" y="95666"/>
                      <a:pt x="147626" y="76053"/>
                      <a:pt x="183522" y="76053"/>
                    </a:cubicBezTo>
                    <a:cubicBezTo>
                      <a:pt x="228928" y="76053"/>
                      <a:pt x="249966" y="99826"/>
                      <a:pt x="249966" y="150699"/>
                    </a:cubicBezTo>
                    <a:lnTo>
                      <a:pt x="249966" y="374039"/>
                    </a:lnTo>
                    <a:lnTo>
                      <a:pt x="330079" y="374039"/>
                    </a:lnTo>
                    <a:lnTo>
                      <a:pt x="330079" y="143210"/>
                    </a:lnTo>
                    <a:cubicBezTo>
                      <a:pt x="331220" y="106205"/>
                      <a:pt x="318799" y="70058"/>
                      <a:pt x="295133" y="41584"/>
                    </a:cubicBezTo>
                    <a:cubicBezTo>
                      <a:pt x="270945" y="13859"/>
                      <a:pt x="235501" y="-1398"/>
                      <a:pt x="198737" y="101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F4998362-892C-4E01-B0E4-71A06ECB57C8}"/>
                  </a:ext>
                </a:extLst>
              </p:cNvPr>
              <p:cNvSpPr/>
              <p:nvPr/>
            </p:nvSpPr>
            <p:spPr>
              <a:xfrm>
                <a:off x="2765939" y="489002"/>
                <a:ext cx="244854" cy="461658"/>
              </a:xfrm>
              <a:custGeom>
                <a:avLst/>
                <a:gdLst>
                  <a:gd name="connsiteX0" fmla="*/ 145249 w 244854"/>
                  <a:gd name="connsiteY0" fmla="*/ 0 h 461658"/>
                  <a:gd name="connsiteX1" fmla="*/ 0 w 244854"/>
                  <a:gd name="connsiteY1" fmla="*/ 142040 h 461658"/>
                  <a:gd name="connsiteX2" fmla="*/ 0 w 244854"/>
                  <a:gd name="connsiteY2" fmla="*/ 158799 h 461658"/>
                  <a:gd name="connsiteX3" fmla="*/ 65136 w 244854"/>
                  <a:gd name="connsiteY3" fmla="*/ 158799 h 461658"/>
                  <a:gd name="connsiteX4" fmla="*/ 65136 w 244854"/>
                  <a:gd name="connsiteY4" fmla="*/ 362290 h 461658"/>
                  <a:gd name="connsiteX5" fmla="*/ 174014 w 244854"/>
                  <a:gd name="connsiteY5" fmla="*/ 461658 h 461658"/>
                  <a:gd name="connsiteX6" fmla="*/ 239744 w 244854"/>
                  <a:gd name="connsiteY6" fmla="*/ 445493 h 461658"/>
                  <a:gd name="connsiteX7" fmla="*/ 244498 w 244854"/>
                  <a:gd name="connsiteY7" fmla="*/ 442997 h 461658"/>
                  <a:gd name="connsiteX8" fmla="*/ 244498 w 244854"/>
                  <a:gd name="connsiteY8" fmla="*/ 377980 h 461658"/>
                  <a:gd name="connsiteX9" fmla="*/ 228928 w 244854"/>
                  <a:gd name="connsiteY9" fmla="*/ 377980 h 461658"/>
                  <a:gd name="connsiteX10" fmla="*/ 227263 w 244854"/>
                  <a:gd name="connsiteY10" fmla="*/ 378693 h 461658"/>
                  <a:gd name="connsiteX11" fmla="*/ 155946 w 244854"/>
                  <a:gd name="connsiteY11" fmla="*/ 384161 h 461658"/>
                  <a:gd name="connsiteX12" fmla="*/ 145605 w 244854"/>
                  <a:gd name="connsiteY12" fmla="*/ 356704 h 461658"/>
                  <a:gd name="connsiteX13" fmla="*/ 145605 w 244854"/>
                  <a:gd name="connsiteY13" fmla="*/ 158799 h 461658"/>
                  <a:gd name="connsiteX14" fmla="*/ 244855 w 244854"/>
                  <a:gd name="connsiteY14" fmla="*/ 158799 h 461658"/>
                  <a:gd name="connsiteX15" fmla="*/ 244855 w 244854"/>
                  <a:gd name="connsiteY15" fmla="*/ 87482 h 461658"/>
                  <a:gd name="connsiteX16" fmla="*/ 145605 w 244854"/>
                  <a:gd name="connsiteY16" fmla="*/ 87482 h 461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44854" h="461658">
                    <a:moveTo>
                      <a:pt x="145249" y="0"/>
                    </a:moveTo>
                    <a:lnTo>
                      <a:pt x="0" y="142040"/>
                    </a:lnTo>
                    <a:lnTo>
                      <a:pt x="0" y="158799"/>
                    </a:lnTo>
                    <a:lnTo>
                      <a:pt x="65136" y="158799"/>
                    </a:lnTo>
                    <a:lnTo>
                      <a:pt x="65136" y="362290"/>
                    </a:lnTo>
                    <a:cubicBezTo>
                      <a:pt x="65136" y="427307"/>
                      <a:pt x="102696" y="461658"/>
                      <a:pt x="174014" y="461658"/>
                    </a:cubicBezTo>
                    <a:cubicBezTo>
                      <a:pt x="196906" y="461660"/>
                      <a:pt x="219466" y="456114"/>
                      <a:pt x="239744" y="445493"/>
                    </a:cubicBezTo>
                    <a:lnTo>
                      <a:pt x="244498" y="442997"/>
                    </a:lnTo>
                    <a:lnTo>
                      <a:pt x="244498" y="377980"/>
                    </a:lnTo>
                    <a:lnTo>
                      <a:pt x="228928" y="377980"/>
                    </a:lnTo>
                    <a:lnTo>
                      <a:pt x="227263" y="378693"/>
                    </a:lnTo>
                    <a:cubicBezTo>
                      <a:pt x="205155" y="389916"/>
                      <a:pt x="179505" y="391884"/>
                      <a:pt x="155946" y="384161"/>
                    </a:cubicBezTo>
                    <a:cubicBezTo>
                      <a:pt x="149053" y="381189"/>
                      <a:pt x="145605" y="372274"/>
                      <a:pt x="145605" y="356704"/>
                    </a:cubicBezTo>
                    <a:lnTo>
                      <a:pt x="145605" y="158799"/>
                    </a:lnTo>
                    <a:lnTo>
                      <a:pt x="244855" y="158799"/>
                    </a:lnTo>
                    <a:lnTo>
                      <a:pt x="244855" y="87482"/>
                    </a:lnTo>
                    <a:lnTo>
                      <a:pt x="145605" y="87482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grpSp>
            <p:nvGrpSpPr>
              <p:cNvPr id="35" name="Graphic 6">
                <a:extLst>
                  <a:ext uri="{FF2B5EF4-FFF2-40B4-BE49-F238E27FC236}">
                    <a16:creationId xmlns:a16="http://schemas.microsoft.com/office/drawing/2014/main" id="{1205A742-4DC2-4E0C-B1A3-E24779B514B6}"/>
                  </a:ext>
                </a:extLst>
              </p:cNvPr>
              <p:cNvGrpSpPr/>
              <p:nvPr/>
            </p:nvGrpSpPr>
            <p:grpSpPr>
              <a:xfrm>
                <a:off x="3057387" y="435515"/>
                <a:ext cx="84986" cy="508252"/>
                <a:chOff x="3057387" y="435515"/>
                <a:chExt cx="84986" cy="508252"/>
              </a:xfrm>
              <a:solidFill>
                <a:srgbClr val="0D4E96"/>
              </a:solidFill>
            </p:grpSpPr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7E616087-17AA-49A7-B182-82F57DDD6BEC}"/>
                    </a:ext>
                  </a:extLst>
                </p:cNvPr>
                <p:cNvSpPr/>
                <p:nvPr/>
              </p:nvSpPr>
              <p:spPr>
                <a:xfrm>
                  <a:off x="3057387" y="435515"/>
                  <a:ext cx="84986" cy="84986"/>
                </a:xfrm>
                <a:custGeom>
                  <a:avLst/>
                  <a:gdLst>
                    <a:gd name="connsiteX0" fmla="*/ 0 w 84986"/>
                    <a:gd name="connsiteY0" fmla="*/ 0 h 84986"/>
                    <a:gd name="connsiteX1" fmla="*/ 84986 w 84986"/>
                    <a:gd name="connsiteY1" fmla="*/ 0 h 84986"/>
                    <a:gd name="connsiteX2" fmla="*/ 84986 w 84986"/>
                    <a:gd name="connsiteY2" fmla="*/ 84986 h 84986"/>
                    <a:gd name="connsiteX3" fmla="*/ 0 w 84986"/>
                    <a:gd name="connsiteY3" fmla="*/ 84986 h 84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986" h="84986">
                      <a:moveTo>
                        <a:pt x="0" y="0"/>
                      </a:moveTo>
                      <a:lnTo>
                        <a:pt x="84986" y="0"/>
                      </a:lnTo>
                      <a:lnTo>
                        <a:pt x="84986" y="84986"/>
                      </a:lnTo>
                      <a:lnTo>
                        <a:pt x="0" y="84986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DFBFC36D-C60C-4E33-B8C8-4F5DEC4DCBD9}"/>
                    </a:ext>
                  </a:extLst>
                </p:cNvPr>
                <p:cNvSpPr/>
                <p:nvPr/>
              </p:nvSpPr>
              <p:spPr>
                <a:xfrm>
                  <a:off x="3059883" y="576603"/>
                  <a:ext cx="80112" cy="367163"/>
                </a:xfrm>
                <a:custGeom>
                  <a:avLst/>
                  <a:gdLst>
                    <a:gd name="connsiteX0" fmla="*/ 0 w 80112"/>
                    <a:gd name="connsiteY0" fmla="*/ 0 h 367163"/>
                    <a:gd name="connsiteX1" fmla="*/ 80113 w 80112"/>
                    <a:gd name="connsiteY1" fmla="*/ 0 h 367163"/>
                    <a:gd name="connsiteX2" fmla="*/ 80113 w 80112"/>
                    <a:gd name="connsiteY2" fmla="*/ 367163 h 367163"/>
                    <a:gd name="connsiteX3" fmla="*/ 0 w 80112"/>
                    <a:gd name="connsiteY3" fmla="*/ 367163 h 36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12" h="367163">
                      <a:moveTo>
                        <a:pt x="0" y="0"/>
                      </a:moveTo>
                      <a:lnTo>
                        <a:pt x="80113" y="0"/>
                      </a:lnTo>
                      <a:lnTo>
                        <a:pt x="80113" y="367163"/>
                      </a:lnTo>
                      <a:lnTo>
                        <a:pt x="0" y="367163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</p:grp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4D68C74-4C66-4EB7-8A72-BCCF51469B2C}"/>
                  </a:ext>
                </a:extLst>
              </p:cNvPr>
              <p:cNvSpPr/>
              <p:nvPr/>
            </p:nvSpPr>
            <p:spPr>
              <a:xfrm>
                <a:off x="3183329" y="569498"/>
                <a:ext cx="283572" cy="381052"/>
              </a:xfrm>
              <a:custGeom>
                <a:avLst/>
                <a:gdLst>
                  <a:gd name="connsiteX0" fmla="*/ 260596 w 283572"/>
                  <a:gd name="connsiteY0" fmla="*/ 201682 h 381052"/>
                  <a:gd name="connsiteX1" fmla="*/ 204969 w 283572"/>
                  <a:gd name="connsiteY1" fmla="*/ 166975 h 381052"/>
                  <a:gd name="connsiteX2" fmla="*/ 144231 w 283572"/>
                  <a:gd name="connsiteY2" fmla="*/ 151047 h 381052"/>
                  <a:gd name="connsiteX3" fmla="*/ 94071 w 283572"/>
                  <a:gd name="connsiteY3" fmla="*/ 133218 h 381052"/>
                  <a:gd name="connsiteX4" fmla="*/ 77431 w 283572"/>
                  <a:gd name="connsiteY4" fmla="*/ 111229 h 381052"/>
                  <a:gd name="connsiteX5" fmla="*/ 94071 w 283572"/>
                  <a:gd name="connsiteY5" fmla="*/ 86386 h 381052"/>
                  <a:gd name="connsiteX6" fmla="*/ 154096 w 283572"/>
                  <a:gd name="connsiteY6" fmla="*/ 74500 h 381052"/>
                  <a:gd name="connsiteX7" fmla="*/ 240390 w 283572"/>
                  <a:gd name="connsiteY7" fmla="*/ 93043 h 381052"/>
                  <a:gd name="connsiteX8" fmla="*/ 242054 w 283572"/>
                  <a:gd name="connsiteY8" fmla="*/ 93756 h 381052"/>
                  <a:gd name="connsiteX9" fmla="*/ 257625 w 283572"/>
                  <a:gd name="connsiteY9" fmla="*/ 93756 h 381052"/>
                  <a:gd name="connsiteX10" fmla="*/ 257625 w 283572"/>
                  <a:gd name="connsiteY10" fmla="*/ 22082 h 381052"/>
                  <a:gd name="connsiteX11" fmla="*/ 251801 w 283572"/>
                  <a:gd name="connsiteY11" fmla="*/ 19943 h 381052"/>
                  <a:gd name="connsiteX12" fmla="*/ 137694 w 283572"/>
                  <a:gd name="connsiteY12" fmla="*/ 212 h 381052"/>
                  <a:gd name="connsiteX13" fmla="*/ 37731 w 283572"/>
                  <a:gd name="connsiteY13" fmla="*/ 32186 h 381052"/>
                  <a:gd name="connsiteX14" fmla="*/ 52 w 283572"/>
                  <a:gd name="connsiteY14" fmla="*/ 117053 h 381052"/>
                  <a:gd name="connsiteX15" fmla="*/ 23824 w 283572"/>
                  <a:gd name="connsiteY15" fmla="*/ 180644 h 381052"/>
                  <a:gd name="connsiteX16" fmla="*/ 79689 w 283572"/>
                  <a:gd name="connsiteY16" fmla="*/ 213925 h 381052"/>
                  <a:gd name="connsiteX17" fmla="*/ 140071 w 283572"/>
                  <a:gd name="connsiteY17" fmla="*/ 230090 h 381052"/>
                  <a:gd name="connsiteX18" fmla="*/ 189517 w 283572"/>
                  <a:gd name="connsiteY18" fmla="*/ 247563 h 381052"/>
                  <a:gd name="connsiteX19" fmla="*/ 205563 w 283572"/>
                  <a:gd name="connsiteY19" fmla="*/ 265273 h 381052"/>
                  <a:gd name="connsiteX20" fmla="*/ 138525 w 283572"/>
                  <a:gd name="connsiteY20" fmla="*/ 305330 h 381052"/>
                  <a:gd name="connsiteX21" fmla="*/ 21209 w 283572"/>
                  <a:gd name="connsiteY21" fmla="*/ 273712 h 381052"/>
                  <a:gd name="connsiteX22" fmla="*/ 19070 w 283572"/>
                  <a:gd name="connsiteY22" fmla="*/ 272405 h 381052"/>
                  <a:gd name="connsiteX23" fmla="*/ 4093 w 283572"/>
                  <a:gd name="connsiteY23" fmla="*/ 272405 h 381052"/>
                  <a:gd name="connsiteX24" fmla="*/ 4093 w 283572"/>
                  <a:gd name="connsiteY24" fmla="*/ 346218 h 381052"/>
                  <a:gd name="connsiteX25" fmla="*/ 8729 w 283572"/>
                  <a:gd name="connsiteY25" fmla="*/ 348714 h 381052"/>
                  <a:gd name="connsiteX26" fmla="*/ 137218 w 283572"/>
                  <a:gd name="connsiteY26" fmla="*/ 381044 h 381052"/>
                  <a:gd name="connsiteX27" fmla="*/ 245620 w 283572"/>
                  <a:gd name="connsiteY27" fmla="*/ 350259 h 381052"/>
                  <a:gd name="connsiteX28" fmla="*/ 283418 w 283572"/>
                  <a:gd name="connsiteY28" fmla="*/ 272999 h 381052"/>
                  <a:gd name="connsiteX29" fmla="*/ 260596 w 283572"/>
                  <a:gd name="connsiteY29" fmla="*/ 201682 h 381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83572" h="381052">
                    <a:moveTo>
                      <a:pt x="260596" y="201682"/>
                    </a:moveTo>
                    <a:cubicBezTo>
                      <a:pt x="246071" y="184666"/>
                      <a:pt x="226638" y="172546"/>
                      <a:pt x="204969" y="166975"/>
                    </a:cubicBezTo>
                    <a:lnTo>
                      <a:pt x="144231" y="151047"/>
                    </a:lnTo>
                    <a:cubicBezTo>
                      <a:pt x="126996" y="146672"/>
                      <a:pt x="110201" y="140703"/>
                      <a:pt x="94071" y="133218"/>
                    </a:cubicBezTo>
                    <a:cubicBezTo>
                      <a:pt x="79213" y="125967"/>
                      <a:pt x="77431" y="117172"/>
                      <a:pt x="77431" y="111229"/>
                    </a:cubicBezTo>
                    <a:cubicBezTo>
                      <a:pt x="78025" y="100532"/>
                      <a:pt x="84408" y="91011"/>
                      <a:pt x="94071" y="86386"/>
                    </a:cubicBezTo>
                    <a:cubicBezTo>
                      <a:pt x="112721" y="77307"/>
                      <a:pt x="133402" y="73211"/>
                      <a:pt x="154096" y="74500"/>
                    </a:cubicBezTo>
                    <a:cubicBezTo>
                      <a:pt x="183800" y="74908"/>
                      <a:pt x="213135" y="81210"/>
                      <a:pt x="240390" y="93043"/>
                    </a:cubicBezTo>
                    <a:lnTo>
                      <a:pt x="242054" y="93756"/>
                    </a:lnTo>
                    <a:lnTo>
                      <a:pt x="257625" y="93756"/>
                    </a:lnTo>
                    <a:lnTo>
                      <a:pt x="257625" y="22082"/>
                    </a:lnTo>
                    <a:lnTo>
                      <a:pt x="251801" y="19943"/>
                    </a:lnTo>
                    <a:cubicBezTo>
                      <a:pt x="215251" y="6610"/>
                      <a:pt x="176597" y="-72"/>
                      <a:pt x="137694" y="212"/>
                    </a:cubicBezTo>
                    <a:cubicBezTo>
                      <a:pt x="101583" y="-1723"/>
                      <a:pt x="66020" y="9653"/>
                      <a:pt x="37731" y="32186"/>
                    </a:cubicBezTo>
                    <a:cubicBezTo>
                      <a:pt x="12912" y="53264"/>
                      <a:pt x="-959" y="84504"/>
                      <a:pt x="52" y="117053"/>
                    </a:cubicBezTo>
                    <a:cubicBezTo>
                      <a:pt x="-662" y="140545"/>
                      <a:pt x="7873" y="163378"/>
                      <a:pt x="23824" y="180644"/>
                    </a:cubicBezTo>
                    <a:cubicBezTo>
                      <a:pt x="38920" y="196795"/>
                      <a:pt x="58294" y="208335"/>
                      <a:pt x="79689" y="213925"/>
                    </a:cubicBezTo>
                    <a:lnTo>
                      <a:pt x="140071" y="230090"/>
                    </a:lnTo>
                    <a:cubicBezTo>
                      <a:pt x="157032" y="234471"/>
                      <a:pt x="173578" y="240318"/>
                      <a:pt x="189517" y="247563"/>
                    </a:cubicBezTo>
                    <a:cubicBezTo>
                      <a:pt x="205563" y="255170"/>
                      <a:pt x="205563" y="262777"/>
                      <a:pt x="205563" y="265273"/>
                    </a:cubicBezTo>
                    <a:cubicBezTo>
                      <a:pt x="205563" y="282508"/>
                      <a:pt x="198670" y="305330"/>
                      <a:pt x="138525" y="305330"/>
                    </a:cubicBezTo>
                    <a:cubicBezTo>
                      <a:pt x="97281" y="305633"/>
                      <a:pt x="56725" y="294703"/>
                      <a:pt x="21209" y="273712"/>
                    </a:cubicBezTo>
                    <a:lnTo>
                      <a:pt x="19070" y="272405"/>
                    </a:lnTo>
                    <a:lnTo>
                      <a:pt x="4093" y="272405"/>
                    </a:lnTo>
                    <a:lnTo>
                      <a:pt x="4093" y="346218"/>
                    </a:lnTo>
                    <a:lnTo>
                      <a:pt x="8729" y="348714"/>
                    </a:lnTo>
                    <a:cubicBezTo>
                      <a:pt x="48107" y="370268"/>
                      <a:pt x="92336" y="381397"/>
                      <a:pt x="137218" y="381044"/>
                    </a:cubicBezTo>
                    <a:cubicBezTo>
                      <a:pt x="184763" y="381044"/>
                      <a:pt x="221134" y="370703"/>
                      <a:pt x="245620" y="350259"/>
                    </a:cubicBezTo>
                    <a:cubicBezTo>
                      <a:pt x="269570" y="331806"/>
                      <a:pt x="283549" y="303236"/>
                      <a:pt x="283418" y="272999"/>
                    </a:cubicBezTo>
                    <a:cubicBezTo>
                      <a:pt x="284820" y="247232"/>
                      <a:pt x="276690" y="221851"/>
                      <a:pt x="260596" y="201682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D6B5F87-3EDA-4591-B111-F7D4A1660C58}"/>
                  </a:ext>
                </a:extLst>
              </p:cNvPr>
              <p:cNvSpPr/>
              <p:nvPr/>
            </p:nvSpPr>
            <p:spPr>
              <a:xfrm>
                <a:off x="2036786" y="569709"/>
                <a:ext cx="338916" cy="380888"/>
              </a:xfrm>
              <a:custGeom>
                <a:avLst/>
                <a:gdLst>
                  <a:gd name="connsiteX0" fmla="*/ 174544 w 338916"/>
                  <a:gd name="connsiteY0" fmla="*/ 1 h 380888"/>
                  <a:gd name="connsiteX1" fmla="*/ 110002 w 338916"/>
                  <a:gd name="connsiteY1" fmla="*/ 11887 h 380888"/>
                  <a:gd name="connsiteX2" fmla="*/ 54138 w 338916"/>
                  <a:gd name="connsiteY2" fmla="*/ 47545 h 380888"/>
                  <a:gd name="connsiteX3" fmla="*/ 15151 w 338916"/>
                  <a:gd name="connsiteY3" fmla="*/ 106976 h 380888"/>
                  <a:gd name="connsiteX4" fmla="*/ 56 w 338916"/>
                  <a:gd name="connsiteY4" fmla="*/ 192200 h 380888"/>
                  <a:gd name="connsiteX5" fmla="*/ 11942 w 338916"/>
                  <a:gd name="connsiteY5" fmla="*/ 267558 h 380888"/>
                  <a:gd name="connsiteX6" fmla="*/ 47600 w 338916"/>
                  <a:gd name="connsiteY6" fmla="*/ 326989 h 380888"/>
                  <a:gd name="connsiteX7" fmla="*/ 107031 w 338916"/>
                  <a:gd name="connsiteY7" fmla="*/ 366570 h 380888"/>
                  <a:gd name="connsiteX8" fmla="*/ 193206 w 338916"/>
                  <a:gd name="connsiteY8" fmla="*/ 380833 h 380888"/>
                  <a:gd name="connsiteX9" fmla="*/ 231360 w 338916"/>
                  <a:gd name="connsiteY9" fmla="*/ 378694 h 380888"/>
                  <a:gd name="connsiteX10" fmla="*/ 266305 w 338916"/>
                  <a:gd name="connsiteY10" fmla="*/ 373464 h 380888"/>
                  <a:gd name="connsiteX11" fmla="*/ 295070 w 338916"/>
                  <a:gd name="connsiteY11" fmla="*/ 366570 h 380888"/>
                  <a:gd name="connsiteX12" fmla="*/ 313731 w 338916"/>
                  <a:gd name="connsiteY12" fmla="*/ 359795 h 380888"/>
                  <a:gd name="connsiteX13" fmla="*/ 302677 w 338916"/>
                  <a:gd name="connsiteY13" fmla="*/ 293470 h 380888"/>
                  <a:gd name="connsiteX14" fmla="*/ 262621 w 338916"/>
                  <a:gd name="connsiteY14" fmla="*/ 305356 h 380888"/>
                  <a:gd name="connsiteX15" fmla="*/ 204141 w 338916"/>
                  <a:gd name="connsiteY15" fmla="*/ 311062 h 380888"/>
                  <a:gd name="connsiteX16" fmla="*/ 120938 w 338916"/>
                  <a:gd name="connsiteY16" fmla="*/ 286576 h 380888"/>
                  <a:gd name="connsiteX17" fmla="*/ 88251 w 338916"/>
                  <a:gd name="connsiteY17" fmla="*/ 217399 h 380888"/>
                  <a:gd name="connsiteX18" fmla="*/ 88251 w 338916"/>
                  <a:gd name="connsiteY18" fmla="*/ 215735 h 380888"/>
                  <a:gd name="connsiteX19" fmla="*/ 337860 w 338916"/>
                  <a:gd name="connsiteY19" fmla="*/ 215735 h 380888"/>
                  <a:gd name="connsiteX20" fmla="*/ 338811 w 338916"/>
                  <a:gd name="connsiteY20" fmla="*/ 201471 h 380888"/>
                  <a:gd name="connsiteX21" fmla="*/ 338811 w 338916"/>
                  <a:gd name="connsiteY21" fmla="*/ 185781 h 380888"/>
                  <a:gd name="connsiteX22" fmla="*/ 295427 w 338916"/>
                  <a:gd name="connsiteY22" fmla="*/ 46951 h 380888"/>
                  <a:gd name="connsiteX23" fmla="*/ 174544 w 338916"/>
                  <a:gd name="connsiteY23" fmla="*/ 1 h 380888"/>
                  <a:gd name="connsiteX24" fmla="*/ 254063 w 338916"/>
                  <a:gd name="connsiteY24" fmla="*/ 155947 h 380888"/>
                  <a:gd name="connsiteX25" fmla="*/ 87656 w 338916"/>
                  <a:gd name="connsiteY25" fmla="*/ 155947 h 380888"/>
                  <a:gd name="connsiteX26" fmla="*/ 87656 w 338916"/>
                  <a:gd name="connsiteY26" fmla="*/ 154164 h 380888"/>
                  <a:gd name="connsiteX27" fmla="*/ 95739 w 338916"/>
                  <a:gd name="connsiteY27" fmla="*/ 122428 h 380888"/>
                  <a:gd name="connsiteX28" fmla="*/ 112261 w 338916"/>
                  <a:gd name="connsiteY28" fmla="*/ 94733 h 380888"/>
                  <a:gd name="connsiteX29" fmla="*/ 138410 w 338916"/>
                  <a:gd name="connsiteY29" fmla="*/ 75121 h 380888"/>
                  <a:gd name="connsiteX30" fmla="*/ 174069 w 338916"/>
                  <a:gd name="connsiteY30" fmla="*/ 67633 h 380888"/>
                  <a:gd name="connsiteX31" fmla="*/ 208301 w 338916"/>
                  <a:gd name="connsiteY31" fmla="*/ 74408 h 380888"/>
                  <a:gd name="connsiteX32" fmla="*/ 232073 w 338916"/>
                  <a:gd name="connsiteY32" fmla="*/ 92951 h 380888"/>
                  <a:gd name="connsiteX33" fmla="*/ 247169 w 338916"/>
                  <a:gd name="connsiteY33" fmla="*/ 120764 h 380888"/>
                  <a:gd name="connsiteX34" fmla="*/ 252280 w 338916"/>
                  <a:gd name="connsiteY34" fmla="*/ 154402 h 38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38916" h="380888">
                    <a:moveTo>
                      <a:pt x="174544" y="1"/>
                    </a:moveTo>
                    <a:cubicBezTo>
                      <a:pt x="152484" y="-65"/>
                      <a:pt x="130601" y="3966"/>
                      <a:pt x="110002" y="11887"/>
                    </a:cubicBezTo>
                    <a:cubicBezTo>
                      <a:pt x="89154" y="19848"/>
                      <a:pt x="70136" y="31982"/>
                      <a:pt x="54138" y="47545"/>
                    </a:cubicBezTo>
                    <a:cubicBezTo>
                      <a:pt x="37224" y="64490"/>
                      <a:pt x="23959" y="84715"/>
                      <a:pt x="15151" y="106976"/>
                    </a:cubicBezTo>
                    <a:cubicBezTo>
                      <a:pt x="4525" y="134105"/>
                      <a:pt x="-598" y="163073"/>
                      <a:pt x="56" y="192200"/>
                    </a:cubicBezTo>
                    <a:cubicBezTo>
                      <a:pt x="-63" y="217796"/>
                      <a:pt x="3954" y="243243"/>
                      <a:pt x="11942" y="267558"/>
                    </a:cubicBezTo>
                    <a:cubicBezTo>
                      <a:pt x="19394" y="289714"/>
                      <a:pt x="31554" y="309989"/>
                      <a:pt x="47600" y="326989"/>
                    </a:cubicBezTo>
                    <a:cubicBezTo>
                      <a:pt x="64169" y="344497"/>
                      <a:pt x="84483" y="358030"/>
                      <a:pt x="107031" y="366570"/>
                    </a:cubicBezTo>
                    <a:cubicBezTo>
                      <a:pt x="134619" y="376630"/>
                      <a:pt x="163847" y="381467"/>
                      <a:pt x="193206" y="380833"/>
                    </a:cubicBezTo>
                    <a:cubicBezTo>
                      <a:pt x="205959" y="380842"/>
                      <a:pt x="218689" y="380127"/>
                      <a:pt x="231360" y="378694"/>
                    </a:cubicBezTo>
                    <a:cubicBezTo>
                      <a:pt x="243841" y="377386"/>
                      <a:pt x="255133" y="375603"/>
                      <a:pt x="266305" y="373464"/>
                    </a:cubicBezTo>
                    <a:cubicBezTo>
                      <a:pt x="276005" y="371663"/>
                      <a:pt x="285609" y="369362"/>
                      <a:pt x="295070" y="366570"/>
                    </a:cubicBezTo>
                    <a:cubicBezTo>
                      <a:pt x="301429" y="364710"/>
                      <a:pt x="307657" y="362447"/>
                      <a:pt x="313731" y="359795"/>
                    </a:cubicBezTo>
                    <a:lnTo>
                      <a:pt x="302677" y="293470"/>
                    </a:lnTo>
                    <a:cubicBezTo>
                      <a:pt x="289697" y="298588"/>
                      <a:pt x="276290" y="302565"/>
                      <a:pt x="262621" y="305356"/>
                    </a:cubicBezTo>
                    <a:cubicBezTo>
                      <a:pt x="243389" y="309318"/>
                      <a:pt x="223777" y="311230"/>
                      <a:pt x="204141" y="311062"/>
                    </a:cubicBezTo>
                    <a:cubicBezTo>
                      <a:pt x="167769" y="311062"/>
                      <a:pt x="139718" y="302741"/>
                      <a:pt x="120938" y="286576"/>
                    </a:cubicBezTo>
                    <a:cubicBezTo>
                      <a:pt x="101017" y="268979"/>
                      <a:pt x="89190" y="243967"/>
                      <a:pt x="88251" y="217399"/>
                    </a:cubicBezTo>
                    <a:lnTo>
                      <a:pt x="88251" y="215735"/>
                    </a:lnTo>
                    <a:lnTo>
                      <a:pt x="337860" y="215735"/>
                    </a:lnTo>
                    <a:cubicBezTo>
                      <a:pt x="337860" y="211574"/>
                      <a:pt x="338573" y="206701"/>
                      <a:pt x="338811" y="201471"/>
                    </a:cubicBezTo>
                    <a:cubicBezTo>
                      <a:pt x="339049" y="196241"/>
                      <a:pt x="338811" y="190298"/>
                      <a:pt x="338811" y="185781"/>
                    </a:cubicBezTo>
                    <a:cubicBezTo>
                      <a:pt x="338811" y="124449"/>
                      <a:pt x="324191" y="77736"/>
                      <a:pt x="295427" y="46951"/>
                    </a:cubicBezTo>
                    <a:cubicBezTo>
                      <a:pt x="266662" y="16166"/>
                      <a:pt x="225893" y="1"/>
                      <a:pt x="174544" y="1"/>
                    </a:cubicBezTo>
                    <a:close/>
                    <a:moveTo>
                      <a:pt x="254063" y="155947"/>
                    </a:moveTo>
                    <a:lnTo>
                      <a:pt x="87656" y="155947"/>
                    </a:lnTo>
                    <a:lnTo>
                      <a:pt x="87656" y="154164"/>
                    </a:lnTo>
                    <a:cubicBezTo>
                      <a:pt x="89095" y="143305"/>
                      <a:pt x="91805" y="132654"/>
                      <a:pt x="95739" y="122428"/>
                    </a:cubicBezTo>
                    <a:cubicBezTo>
                      <a:pt x="99448" y="112236"/>
                      <a:pt x="105058" y="102839"/>
                      <a:pt x="112261" y="94733"/>
                    </a:cubicBezTo>
                    <a:cubicBezTo>
                      <a:pt x="119547" y="86476"/>
                      <a:pt x="128438" y="79801"/>
                      <a:pt x="138410" y="75121"/>
                    </a:cubicBezTo>
                    <a:cubicBezTo>
                      <a:pt x="149583" y="69968"/>
                      <a:pt x="161767" y="67407"/>
                      <a:pt x="174069" y="67633"/>
                    </a:cubicBezTo>
                    <a:cubicBezTo>
                      <a:pt x="185836" y="67329"/>
                      <a:pt x="197532" y="69643"/>
                      <a:pt x="208301" y="74408"/>
                    </a:cubicBezTo>
                    <a:cubicBezTo>
                      <a:pt x="217418" y="78888"/>
                      <a:pt x="225512" y="85200"/>
                      <a:pt x="232073" y="92951"/>
                    </a:cubicBezTo>
                    <a:cubicBezTo>
                      <a:pt x="238837" y="101171"/>
                      <a:pt x="243960" y="110612"/>
                      <a:pt x="247169" y="120764"/>
                    </a:cubicBezTo>
                    <a:cubicBezTo>
                      <a:pt x="250580" y="131651"/>
                      <a:pt x="252304" y="142994"/>
                      <a:pt x="252280" y="154402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9BF5369-FF6F-435C-A4F3-3CCE8B26A7B6}"/>
                  </a:ext>
                </a:extLst>
              </p:cNvPr>
              <p:cNvSpPr/>
              <p:nvPr/>
            </p:nvSpPr>
            <p:spPr>
              <a:xfrm>
                <a:off x="1727089" y="567131"/>
                <a:ext cx="321639" cy="380398"/>
              </a:xfrm>
              <a:custGeom>
                <a:avLst/>
                <a:gdLst>
                  <a:gd name="connsiteX0" fmla="*/ 209672 w 321639"/>
                  <a:gd name="connsiteY0" fmla="*/ 83 h 380398"/>
                  <a:gd name="connsiteX1" fmla="*/ 0 w 321639"/>
                  <a:gd name="connsiteY1" fmla="*/ 190261 h 380398"/>
                  <a:gd name="connsiteX2" fmla="*/ 0 w 321639"/>
                  <a:gd name="connsiteY2" fmla="*/ 191688 h 380398"/>
                  <a:gd name="connsiteX3" fmla="*/ 208959 w 321639"/>
                  <a:gd name="connsiteY3" fmla="*/ 380321 h 380398"/>
                  <a:gd name="connsiteX4" fmla="*/ 320094 w 321639"/>
                  <a:gd name="connsiteY4" fmla="*/ 354171 h 380398"/>
                  <a:gd name="connsiteX5" fmla="*/ 319262 w 321639"/>
                  <a:gd name="connsiteY5" fmla="*/ 353339 h 380398"/>
                  <a:gd name="connsiteX6" fmla="*/ 315102 w 321639"/>
                  <a:gd name="connsiteY6" fmla="*/ 349417 h 380398"/>
                  <a:gd name="connsiteX7" fmla="*/ 315102 w 321639"/>
                  <a:gd name="connsiteY7" fmla="*/ 349417 h 380398"/>
                  <a:gd name="connsiteX8" fmla="*/ 280632 w 321639"/>
                  <a:gd name="connsiteY8" fmla="*/ 296286 h 380398"/>
                  <a:gd name="connsiteX9" fmla="*/ 213594 w 321639"/>
                  <a:gd name="connsiteY9" fmla="*/ 312926 h 380398"/>
                  <a:gd name="connsiteX10" fmla="*/ 87672 w 321639"/>
                  <a:gd name="connsiteY10" fmla="*/ 195814 h 380398"/>
                  <a:gd name="connsiteX11" fmla="*/ 87601 w 321639"/>
                  <a:gd name="connsiteY11" fmla="*/ 190261 h 380398"/>
                  <a:gd name="connsiteX12" fmla="*/ 87601 w 321639"/>
                  <a:gd name="connsiteY12" fmla="*/ 189073 h 380398"/>
                  <a:gd name="connsiteX13" fmla="*/ 206213 w 321639"/>
                  <a:gd name="connsiteY13" fmla="*/ 67833 h 380398"/>
                  <a:gd name="connsiteX14" fmla="*/ 208959 w 321639"/>
                  <a:gd name="connsiteY14" fmla="*/ 67834 h 380398"/>
                  <a:gd name="connsiteX15" fmla="*/ 281227 w 321639"/>
                  <a:gd name="connsiteY15" fmla="*/ 86852 h 380398"/>
                  <a:gd name="connsiteX16" fmla="*/ 321639 w 321639"/>
                  <a:gd name="connsiteY16" fmla="*/ 25876 h 380398"/>
                  <a:gd name="connsiteX17" fmla="*/ 209672 w 321639"/>
                  <a:gd name="connsiteY17" fmla="*/ 83 h 380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21639" h="380398">
                    <a:moveTo>
                      <a:pt x="209672" y="83"/>
                    </a:moveTo>
                    <a:cubicBezTo>
                      <a:pt x="92118" y="83"/>
                      <a:pt x="0" y="83880"/>
                      <a:pt x="0" y="190261"/>
                    </a:cubicBezTo>
                    <a:lnTo>
                      <a:pt x="0" y="191688"/>
                    </a:lnTo>
                    <a:cubicBezTo>
                      <a:pt x="0" y="297474"/>
                      <a:pt x="91761" y="380321"/>
                      <a:pt x="208959" y="380321"/>
                    </a:cubicBezTo>
                    <a:cubicBezTo>
                      <a:pt x="247636" y="381337"/>
                      <a:pt x="285921" y="372329"/>
                      <a:pt x="320094" y="354171"/>
                    </a:cubicBezTo>
                    <a:lnTo>
                      <a:pt x="319262" y="353339"/>
                    </a:lnTo>
                    <a:cubicBezTo>
                      <a:pt x="317836" y="352032"/>
                      <a:pt x="316409" y="350843"/>
                      <a:pt x="315102" y="349417"/>
                    </a:cubicBezTo>
                    <a:lnTo>
                      <a:pt x="315102" y="349417"/>
                    </a:lnTo>
                    <a:cubicBezTo>
                      <a:pt x="300660" y="333807"/>
                      <a:pt x="289000" y="315836"/>
                      <a:pt x="280632" y="296286"/>
                    </a:cubicBezTo>
                    <a:cubicBezTo>
                      <a:pt x="260045" y="307381"/>
                      <a:pt x="236986" y="313106"/>
                      <a:pt x="213594" y="312926"/>
                    </a:cubicBezTo>
                    <a:cubicBezTo>
                      <a:pt x="146485" y="315358"/>
                      <a:pt x="90109" y="262925"/>
                      <a:pt x="87672" y="195814"/>
                    </a:cubicBezTo>
                    <a:cubicBezTo>
                      <a:pt x="87613" y="193964"/>
                      <a:pt x="87589" y="192112"/>
                      <a:pt x="87601" y="190261"/>
                    </a:cubicBezTo>
                    <a:lnTo>
                      <a:pt x="87601" y="189073"/>
                    </a:lnTo>
                    <a:cubicBezTo>
                      <a:pt x="86876" y="122841"/>
                      <a:pt x="139971" y="68559"/>
                      <a:pt x="206213" y="67833"/>
                    </a:cubicBezTo>
                    <a:cubicBezTo>
                      <a:pt x="207128" y="67822"/>
                      <a:pt x="208043" y="67823"/>
                      <a:pt x="208959" y="67834"/>
                    </a:cubicBezTo>
                    <a:cubicBezTo>
                      <a:pt x="234336" y="67418"/>
                      <a:pt x="259344" y="73998"/>
                      <a:pt x="281227" y="86852"/>
                    </a:cubicBezTo>
                    <a:cubicBezTo>
                      <a:pt x="290878" y="64237"/>
                      <a:pt x="304571" y="43573"/>
                      <a:pt x="321639" y="25876"/>
                    </a:cubicBezTo>
                    <a:cubicBezTo>
                      <a:pt x="287110" y="7914"/>
                      <a:pt x="248575" y="-962"/>
                      <a:pt x="209672" y="83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  <p:grpSp>
          <p:nvGrpSpPr>
            <p:cNvPr id="26" name="Graphic 6">
              <a:extLst>
                <a:ext uri="{FF2B5EF4-FFF2-40B4-BE49-F238E27FC236}">
                  <a16:creationId xmlns:a16="http://schemas.microsoft.com/office/drawing/2014/main" id="{9C7DBD19-C64B-43A3-BDBB-7235E6983ABE}"/>
                </a:ext>
              </a:extLst>
            </p:cNvPr>
            <p:cNvGrpSpPr/>
            <p:nvPr/>
          </p:nvGrpSpPr>
          <p:grpSpPr>
            <a:xfrm>
              <a:off x="335933" y="374658"/>
              <a:ext cx="521802" cy="644467"/>
              <a:chOff x="335933" y="374658"/>
              <a:chExt cx="521802" cy="644467"/>
            </a:xfrm>
            <a:solidFill>
              <a:srgbClr val="0D4E96"/>
            </a:solidFill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2C8A5CF-E966-4621-9D77-C140E13C4920}"/>
                  </a:ext>
                </a:extLst>
              </p:cNvPr>
              <p:cNvSpPr/>
              <p:nvPr/>
            </p:nvSpPr>
            <p:spPr>
              <a:xfrm>
                <a:off x="335933" y="497560"/>
                <a:ext cx="279800" cy="398899"/>
              </a:xfrm>
              <a:custGeom>
                <a:avLst/>
                <a:gdLst>
                  <a:gd name="connsiteX0" fmla="*/ 79875 w 279800"/>
                  <a:gd name="connsiteY0" fmla="*/ 398900 h 398899"/>
                  <a:gd name="connsiteX1" fmla="*/ 0 w 279800"/>
                  <a:gd name="connsiteY1" fmla="*/ 319025 h 398899"/>
                  <a:gd name="connsiteX2" fmla="*/ 120050 w 279800"/>
                  <a:gd name="connsiteY2" fmla="*/ 198974 h 398899"/>
                  <a:gd name="connsiteX3" fmla="*/ 951 w 279800"/>
                  <a:gd name="connsiteY3" fmla="*/ 79756 h 398899"/>
                  <a:gd name="connsiteX4" fmla="*/ 80707 w 279800"/>
                  <a:gd name="connsiteY4" fmla="*/ 0 h 398899"/>
                  <a:gd name="connsiteX5" fmla="*/ 279800 w 279800"/>
                  <a:gd name="connsiteY5" fmla="*/ 198974 h 398899"/>
                  <a:gd name="connsiteX6" fmla="*/ 79875 w 279800"/>
                  <a:gd name="connsiteY6" fmla="*/ 398900 h 398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800" h="398899">
                    <a:moveTo>
                      <a:pt x="79875" y="398900"/>
                    </a:moveTo>
                    <a:lnTo>
                      <a:pt x="0" y="319025"/>
                    </a:lnTo>
                    <a:lnTo>
                      <a:pt x="120050" y="198974"/>
                    </a:lnTo>
                    <a:lnTo>
                      <a:pt x="951" y="79756"/>
                    </a:lnTo>
                    <a:lnTo>
                      <a:pt x="80707" y="0"/>
                    </a:lnTo>
                    <a:lnTo>
                      <a:pt x="279800" y="198974"/>
                    </a:lnTo>
                    <a:lnTo>
                      <a:pt x="79875" y="3989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9C0ECDC-5D8D-401A-B971-09C24D0DE8C6}"/>
                  </a:ext>
                </a:extLst>
              </p:cNvPr>
              <p:cNvSpPr/>
              <p:nvPr/>
            </p:nvSpPr>
            <p:spPr>
              <a:xfrm>
                <a:off x="458598" y="739325"/>
                <a:ext cx="398899" cy="279800"/>
              </a:xfrm>
              <a:custGeom>
                <a:avLst/>
                <a:gdLst>
                  <a:gd name="connsiteX0" fmla="*/ 79875 w 398899"/>
                  <a:gd name="connsiteY0" fmla="*/ 279800 h 279800"/>
                  <a:gd name="connsiteX1" fmla="*/ 0 w 398899"/>
                  <a:gd name="connsiteY1" fmla="*/ 199925 h 279800"/>
                  <a:gd name="connsiteX2" fmla="*/ 199925 w 398899"/>
                  <a:gd name="connsiteY2" fmla="*/ 0 h 279800"/>
                  <a:gd name="connsiteX3" fmla="*/ 398899 w 398899"/>
                  <a:gd name="connsiteY3" fmla="*/ 198974 h 279800"/>
                  <a:gd name="connsiteX4" fmla="*/ 319024 w 398899"/>
                  <a:gd name="connsiteY4" fmla="*/ 278849 h 279800"/>
                  <a:gd name="connsiteX5" fmla="*/ 199925 w 398899"/>
                  <a:gd name="connsiteY5" fmla="*/ 159750 h 279800"/>
                  <a:gd name="connsiteX6" fmla="*/ 79875 w 398899"/>
                  <a:gd name="connsiteY6" fmla="*/ 279800 h 27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899" h="279800">
                    <a:moveTo>
                      <a:pt x="79875" y="279800"/>
                    </a:moveTo>
                    <a:lnTo>
                      <a:pt x="0" y="199925"/>
                    </a:lnTo>
                    <a:lnTo>
                      <a:pt x="199925" y="0"/>
                    </a:lnTo>
                    <a:lnTo>
                      <a:pt x="398899" y="198974"/>
                    </a:lnTo>
                    <a:lnTo>
                      <a:pt x="319024" y="278849"/>
                    </a:lnTo>
                    <a:lnTo>
                      <a:pt x="199925" y="159750"/>
                    </a:lnTo>
                    <a:lnTo>
                      <a:pt x="79875" y="2798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EEE44F6-B9F7-424A-937C-60100E2506AF}"/>
                  </a:ext>
                </a:extLst>
              </p:cNvPr>
              <p:cNvSpPr/>
              <p:nvPr/>
            </p:nvSpPr>
            <p:spPr>
              <a:xfrm>
                <a:off x="458835" y="374658"/>
                <a:ext cx="398899" cy="279800"/>
              </a:xfrm>
              <a:custGeom>
                <a:avLst/>
                <a:gdLst>
                  <a:gd name="connsiteX0" fmla="*/ 198974 w 398899"/>
                  <a:gd name="connsiteY0" fmla="*/ 279800 h 279800"/>
                  <a:gd name="connsiteX1" fmla="*/ 0 w 398899"/>
                  <a:gd name="connsiteY1" fmla="*/ 80707 h 279800"/>
                  <a:gd name="connsiteX2" fmla="*/ 79756 w 398899"/>
                  <a:gd name="connsiteY2" fmla="*/ 951 h 279800"/>
                  <a:gd name="connsiteX3" fmla="*/ 198974 w 398899"/>
                  <a:gd name="connsiteY3" fmla="*/ 120050 h 279800"/>
                  <a:gd name="connsiteX4" fmla="*/ 319025 w 398899"/>
                  <a:gd name="connsiteY4" fmla="*/ 0 h 279800"/>
                  <a:gd name="connsiteX5" fmla="*/ 398900 w 398899"/>
                  <a:gd name="connsiteY5" fmla="*/ 79875 h 279800"/>
                  <a:gd name="connsiteX6" fmla="*/ 198974 w 398899"/>
                  <a:gd name="connsiteY6" fmla="*/ 279800 h 27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899" h="279800">
                    <a:moveTo>
                      <a:pt x="198974" y="279800"/>
                    </a:moveTo>
                    <a:lnTo>
                      <a:pt x="0" y="80707"/>
                    </a:lnTo>
                    <a:lnTo>
                      <a:pt x="79756" y="951"/>
                    </a:lnTo>
                    <a:lnTo>
                      <a:pt x="198974" y="120050"/>
                    </a:lnTo>
                    <a:lnTo>
                      <a:pt x="319025" y="0"/>
                    </a:lnTo>
                    <a:lnTo>
                      <a:pt x="398900" y="79875"/>
                    </a:lnTo>
                    <a:lnTo>
                      <a:pt x="198974" y="2798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0B49A30A-5504-43E8-AA55-1CE3C7B336BB}"/>
              </a:ext>
            </a:extLst>
          </p:cNvPr>
          <p:cNvSpPr txBox="1"/>
          <p:nvPr/>
        </p:nvSpPr>
        <p:spPr>
          <a:xfrm>
            <a:off x="418295" y="4536765"/>
            <a:ext cx="1659429" cy="21929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en-US" sz="825" dirty="0">
                <a:solidFill>
                  <a:schemeClr val="tx2"/>
                </a:solidFill>
              </a:rPr>
              <a:t>© Tricenti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75900638"/>
      </p:ext>
    </p:extLst>
  </p:cSld>
  <p:clrMapOvr>
    <a:masterClrMapping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59F83348-00FF-CD53-03D4-837E56CF9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0" y="-16928"/>
            <a:ext cx="9147600" cy="51604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BCD4FA-1DD7-44F1-92EE-79F7D5C3F5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09" y="1491705"/>
            <a:ext cx="5484803" cy="1404082"/>
          </a:xfrm>
        </p:spPr>
        <p:txBody>
          <a:bodyPr anchor="b">
            <a:noAutofit/>
          </a:bodyPr>
          <a:lstStyle>
            <a:lvl1pPr algn="l">
              <a:defRPr sz="3000" b="1"/>
            </a:lvl1pPr>
          </a:lstStyle>
          <a:p>
            <a:r>
              <a:rPr lang="en-US" dirty="0"/>
              <a:t>[Insert title her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D38753-5618-4399-98B6-641235EA5E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348" y="3798198"/>
            <a:ext cx="5471837" cy="231715"/>
          </a:xfrm>
        </p:spPr>
        <p:txBody>
          <a:bodyPr>
            <a:no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[Insert subtitle here]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B49A30A-5504-43E8-AA55-1CE3C7B336BB}"/>
              </a:ext>
            </a:extLst>
          </p:cNvPr>
          <p:cNvSpPr txBox="1"/>
          <p:nvPr/>
        </p:nvSpPr>
        <p:spPr>
          <a:xfrm>
            <a:off x="418295" y="4536765"/>
            <a:ext cx="1659429" cy="21929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en-US" sz="825" dirty="0">
                <a:solidFill>
                  <a:schemeClr val="tx2"/>
                </a:solidFill>
              </a:rPr>
              <a:t>© Tricentis. All rights reserved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8FBAF89-AD4B-219B-F2BF-762BF0112F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4478" y="3057804"/>
            <a:ext cx="5489934" cy="53950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[Insert subhead here]</a:t>
            </a:r>
          </a:p>
        </p:txBody>
      </p:sp>
      <p:grpSp>
        <p:nvGrpSpPr>
          <p:cNvPr id="53" name="Graphic 6">
            <a:extLst>
              <a:ext uri="{FF2B5EF4-FFF2-40B4-BE49-F238E27FC236}">
                <a16:creationId xmlns:a16="http://schemas.microsoft.com/office/drawing/2014/main" id="{43502093-2134-0CB0-1D25-90868805D172}"/>
              </a:ext>
            </a:extLst>
          </p:cNvPr>
          <p:cNvGrpSpPr/>
          <p:nvPr/>
        </p:nvGrpSpPr>
        <p:grpSpPr>
          <a:xfrm>
            <a:off x="494478" y="381039"/>
            <a:ext cx="2105699" cy="433430"/>
            <a:chOff x="335933" y="374658"/>
            <a:chExt cx="3130969" cy="644467"/>
          </a:xfrm>
          <a:solidFill>
            <a:srgbClr val="0D4E96"/>
          </a:solidFill>
        </p:grpSpPr>
        <p:grpSp>
          <p:nvGrpSpPr>
            <p:cNvPr id="54" name="Graphic 6">
              <a:extLst>
                <a:ext uri="{FF2B5EF4-FFF2-40B4-BE49-F238E27FC236}">
                  <a16:creationId xmlns:a16="http://schemas.microsoft.com/office/drawing/2014/main" id="{C53E0575-9288-0D6A-884D-6F0A9F2B47D7}"/>
                </a:ext>
              </a:extLst>
            </p:cNvPr>
            <p:cNvGrpSpPr/>
            <p:nvPr/>
          </p:nvGrpSpPr>
          <p:grpSpPr>
            <a:xfrm>
              <a:off x="1000369" y="435515"/>
              <a:ext cx="2466533" cy="515146"/>
              <a:chOff x="1000369" y="435515"/>
              <a:chExt cx="2466533" cy="515146"/>
            </a:xfrm>
            <a:solidFill>
              <a:srgbClr val="0D4E96"/>
            </a:solidFill>
          </p:grpSpPr>
          <p:sp>
            <p:nvSpPr>
              <p:cNvPr id="59" name="Freeform: Shape 29">
                <a:extLst>
                  <a:ext uri="{FF2B5EF4-FFF2-40B4-BE49-F238E27FC236}">
                    <a16:creationId xmlns:a16="http://schemas.microsoft.com/office/drawing/2014/main" id="{4705DAEA-A053-0F43-3AEC-ABF298155C3B}"/>
                  </a:ext>
                </a:extLst>
              </p:cNvPr>
              <p:cNvSpPr/>
              <p:nvPr/>
            </p:nvSpPr>
            <p:spPr>
              <a:xfrm>
                <a:off x="1000369" y="447876"/>
                <a:ext cx="410191" cy="495771"/>
              </a:xfrm>
              <a:custGeom>
                <a:avLst/>
                <a:gdLst>
                  <a:gd name="connsiteX0" fmla="*/ 410191 w 410191"/>
                  <a:gd name="connsiteY0" fmla="*/ 0 h 495771"/>
                  <a:gd name="connsiteX1" fmla="*/ 0 w 410191"/>
                  <a:gd name="connsiteY1" fmla="*/ 0 h 495771"/>
                  <a:gd name="connsiteX2" fmla="*/ 0 w 410191"/>
                  <a:gd name="connsiteY2" fmla="*/ 75953 h 495771"/>
                  <a:gd name="connsiteX3" fmla="*/ 164980 w 410191"/>
                  <a:gd name="connsiteY3" fmla="*/ 75953 h 495771"/>
                  <a:gd name="connsiteX4" fmla="*/ 164980 w 410191"/>
                  <a:gd name="connsiteY4" fmla="*/ 495772 h 495771"/>
                  <a:gd name="connsiteX5" fmla="*/ 245211 w 410191"/>
                  <a:gd name="connsiteY5" fmla="*/ 495772 h 495771"/>
                  <a:gd name="connsiteX6" fmla="*/ 245211 w 410191"/>
                  <a:gd name="connsiteY6" fmla="*/ 75953 h 495771"/>
                  <a:gd name="connsiteX7" fmla="*/ 410191 w 410191"/>
                  <a:gd name="connsiteY7" fmla="*/ 75953 h 495771"/>
                  <a:gd name="connsiteX8" fmla="*/ 410191 w 410191"/>
                  <a:gd name="connsiteY8" fmla="*/ 0 h 49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0191" h="495771">
                    <a:moveTo>
                      <a:pt x="410191" y="0"/>
                    </a:moveTo>
                    <a:lnTo>
                      <a:pt x="0" y="0"/>
                    </a:lnTo>
                    <a:lnTo>
                      <a:pt x="0" y="75953"/>
                    </a:lnTo>
                    <a:lnTo>
                      <a:pt x="164980" y="75953"/>
                    </a:lnTo>
                    <a:lnTo>
                      <a:pt x="164980" y="495772"/>
                    </a:lnTo>
                    <a:lnTo>
                      <a:pt x="245211" y="495772"/>
                    </a:lnTo>
                    <a:lnTo>
                      <a:pt x="245211" y="75953"/>
                    </a:lnTo>
                    <a:lnTo>
                      <a:pt x="410191" y="75953"/>
                    </a:lnTo>
                    <a:lnTo>
                      <a:pt x="410191" y="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60" name="Freeform: Shape 30">
                <a:extLst>
                  <a:ext uri="{FF2B5EF4-FFF2-40B4-BE49-F238E27FC236}">
                    <a16:creationId xmlns:a16="http://schemas.microsoft.com/office/drawing/2014/main" id="{D3800F35-262F-A98F-0ED0-4DA1BFE944F2}"/>
                  </a:ext>
                </a:extLst>
              </p:cNvPr>
              <p:cNvSpPr/>
              <p:nvPr/>
            </p:nvSpPr>
            <p:spPr>
              <a:xfrm>
                <a:off x="1346613" y="569672"/>
                <a:ext cx="215377" cy="373976"/>
              </a:xfrm>
              <a:custGeom>
                <a:avLst/>
                <a:gdLst>
                  <a:gd name="connsiteX0" fmla="*/ 78686 w 215377"/>
                  <a:gd name="connsiteY0" fmla="*/ 49841 h 373976"/>
                  <a:gd name="connsiteX1" fmla="*/ 71317 w 215377"/>
                  <a:gd name="connsiteY1" fmla="*/ 6932 h 373976"/>
                  <a:gd name="connsiteX2" fmla="*/ 0 w 215377"/>
                  <a:gd name="connsiteY2" fmla="*/ 6932 h 373976"/>
                  <a:gd name="connsiteX3" fmla="*/ 0 w 215377"/>
                  <a:gd name="connsiteY3" fmla="*/ 373976 h 373976"/>
                  <a:gd name="connsiteX4" fmla="*/ 80113 w 215377"/>
                  <a:gd name="connsiteY4" fmla="*/ 373976 h 373976"/>
                  <a:gd name="connsiteX5" fmla="*/ 80113 w 215377"/>
                  <a:gd name="connsiteY5" fmla="*/ 131023 h 373976"/>
                  <a:gd name="connsiteX6" fmla="*/ 129678 w 215377"/>
                  <a:gd name="connsiteY6" fmla="*/ 92393 h 373976"/>
                  <a:gd name="connsiteX7" fmla="*/ 200995 w 215377"/>
                  <a:gd name="connsiteY7" fmla="*/ 77417 h 373976"/>
                  <a:gd name="connsiteX8" fmla="*/ 215377 w 215377"/>
                  <a:gd name="connsiteY8" fmla="*/ 77417 h 373976"/>
                  <a:gd name="connsiteX9" fmla="*/ 215377 w 215377"/>
                  <a:gd name="connsiteY9" fmla="*/ 38 h 373976"/>
                  <a:gd name="connsiteX10" fmla="*/ 200995 w 215377"/>
                  <a:gd name="connsiteY10" fmla="*/ 38 h 373976"/>
                  <a:gd name="connsiteX11" fmla="*/ 78686 w 215377"/>
                  <a:gd name="connsiteY11" fmla="*/ 49841 h 37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5377" h="373976">
                    <a:moveTo>
                      <a:pt x="78686" y="49841"/>
                    </a:moveTo>
                    <a:lnTo>
                      <a:pt x="71317" y="6932"/>
                    </a:lnTo>
                    <a:lnTo>
                      <a:pt x="0" y="6932"/>
                    </a:lnTo>
                    <a:lnTo>
                      <a:pt x="0" y="373976"/>
                    </a:lnTo>
                    <a:lnTo>
                      <a:pt x="80113" y="373976"/>
                    </a:lnTo>
                    <a:lnTo>
                      <a:pt x="80113" y="131023"/>
                    </a:lnTo>
                    <a:cubicBezTo>
                      <a:pt x="93045" y="114107"/>
                      <a:pt x="110113" y="100804"/>
                      <a:pt x="129678" y="92393"/>
                    </a:cubicBezTo>
                    <a:cubicBezTo>
                      <a:pt x="152131" y="82423"/>
                      <a:pt x="176426" y="77319"/>
                      <a:pt x="200995" y="77417"/>
                    </a:cubicBezTo>
                    <a:lnTo>
                      <a:pt x="215377" y="77417"/>
                    </a:lnTo>
                    <a:lnTo>
                      <a:pt x="215377" y="38"/>
                    </a:lnTo>
                    <a:lnTo>
                      <a:pt x="200995" y="38"/>
                    </a:lnTo>
                    <a:cubicBezTo>
                      <a:pt x="155103" y="-941"/>
                      <a:pt x="110838" y="17080"/>
                      <a:pt x="78686" y="49841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grpSp>
            <p:nvGrpSpPr>
              <p:cNvPr id="61" name="Graphic 6">
                <a:extLst>
                  <a:ext uri="{FF2B5EF4-FFF2-40B4-BE49-F238E27FC236}">
                    <a16:creationId xmlns:a16="http://schemas.microsoft.com/office/drawing/2014/main" id="{6B6ADE69-7D3F-C590-35D1-6FAFEB72650B}"/>
                  </a:ext>
                </a:extLst>
              </p:cNvPr>
              <p:cNvGrpSpPr/>
              <p:nvPr/>
            </p:nvGrpSpPr>
            <p:grpSpPr>
              <a:xfrm>
                <a:off x="1602284" y="435515"/>
                <a:ext cx="84986" cy="508252"/>
                <a:chOff x="1602284" y="435515"/>
                <a:chExt cx="84986" cy="508252"/>
              </a:xfrm>
              <a:solidFill>
                <a:srgbClr val="0D4E96"/>
              </a:solidFill>
            </p:grpSpPr>
            <p:sp>
              <p:nvSpPr>
                <p:cNvPr id="70" name="Freeform: Shape 40">
                  <a:extLst>
                    <a:ext uri="{FF2B5EF4-FFF2-40B4-BE49-F238E27FC236}">
                      <a16:creationId xmlns:a16="http://schemas.microsoft.com/office/drawing/2014/main" id="{B5C7677D-397F-EFB0-C00E-6014D157CA34}"/>
                    </a:ext>
                  </a:extLst>
                </p:cNvPr>
                <p:cNvSpPr/>
                <p:nvPr/>
              </p:nvSpPr>
              <p:spPr>
                <a:xfrm>
                  <a:off x="1602284" y="435515"/>
                  <a:ext cx="84986" cy="84986"/>
                </a:xfrm>
                <a:custGeom>
                  <a:avLst/>
                  <a:gdLst>
                    <a:gd name="connsiteX0" fmla="*/ 0 w 84986"/>
                    <a:gd name="connsiteY0" fmla="*/ 0 h 84986"/>
                    <a:gd name="connsiteX1" fmla="*/ 84986 w 84986"/>
                    <a:gd name="connsiteY1" fmla="*/ 0 h 84986"/>
                    <a:gd name="connsiteX2" fmla="*/ 84986 w 84986"/>
                    <a:gd name="connsiteY2" fmla="*/ 84986 h 84986"/>
                    <a:gd name="connsiteX3" fmla="*/ 0 w 84986"/>
                    <a:gd name="connsiteY3" fmla="*/ 84986 h 84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986" h="84986">
                      <a:moveTo>
                        <a:pt x="0" y="0"/>
                      </a:moveTo>
                      <a:lnTo>
                        <a:pt x="84986" y="0"/>
                      </a:lnTo>
                      <a:lnTo>
                        <a:pt x="84986" y="84986"/>
                      </a:lnTo>
                      <a:lnTo>
                        <a:pt x="0" y="84986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  <p:sp>
              <p:nvSpPr>
                <p:cNvPr id="71" name="Freeform: Shape 41">
                  <a:extLst>
                    <a:ext uri="{FF2B5EF4-FFF2-40B4-BE49-F238E27FC236}">
                      <a16:creationId xmlns:a16="http://schemas.microsoft.com/office/drawing/2014/main" id="{8344C78B-D9A5-D0CC-98F9-A01D4AD84F2B}"/>
                    </a:ext>
                  </a:extLst>
                </p:cNvPr>
                <p:cNvSpPr/>
                <p:nvPr/>
              </p:nvSpPr>
              <p:spPr>
                <a:xfrm>
                  <a:off x="1604661" y="576603"/>
                  <a:ext cx="80112" cy="367163"/>
                </a:xfrm>
                <a:custGeom>
                  <a:avLst/>
                  <a:gdLst>
                    <a:gd name="connsiteX0" fmla="*/ 0 w 80112"/>
                    <a:gd name="connsiteY0" fmla="*/ 0 h 367163"/>
                    <a:gd name="connsiteX1" fmla="*/ 80113 w 80112"/>
                    <a:gd name="connsiteY1" fmla="*/ 0 h 367163"/>
                    <a:gd name="connsiteX2" fmla="*/ 80113 w 80112"/>
                    <a:gd name="connsiteY2" fmla="*/ 367163 h 367163"/>
                    <a:gd name="connsiteX3" fmla="*/ 0 w 80112"/>
                    <a:gd name="connsiteY3" fmla="*/ 367163 h 36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12" h="367163">
                      <a:moveTo>
                        <a:pt x="0" y="0"/>
                      </a:moveTo>
                      <a:lnTo>
                        <a:pt x="80113" y="0"/>
                      </a:lnTo>
                      <a:lnTo>
                        <a:pt x="80113" y="367163"/>
                      </a:lnTo>
                      <a:lnTo>
                        <a:pt x="0" y="367163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</p:grpSp>
          <p:sp>
            <p:nvSpPr>
              <p:cNvPr id="62" name="Freeform: Shape 32">
                <a:extLst>
                  <a:ext uri="{FF2B5EF4-FFF2-40B4-BE49-F238E27FC236}">
                    <a16:creationId xmlns:a16="http://schemas.microsoft.com/office/drawing/2014/main" id="{F7148775-DE6B-203F-23D0-2DB8101CB499}"/>
                  </a:ext>
                </a:extLst>
              </p:cNvPr>
              <p:cNvSpPr/>
              <p:nvPr/>
            </p:nvSpPr>
            <p:spPr>
              <a:xfrm>
                <a:off x="2415654" y="569609"/>
                <a:ext cx="330150" cy="374039"/>
              </a:xfrm>
              <a:custGeom>
                <a:avLst/>
                <a:gdLst>
                  <a:gd name="connsiteX0" fmla="*/ 198737 w 330150"/>
                  <a:gd name="connsiteY0" fmla="*/ 101 h 374039"/>
                  <a:gd name="connsiteX1" fmla="*/ 78924 w 330150"/>
                  <a:gd name="connsiteY1" fmla="*/ 50974 h 374039"/>
                  <a:gd name="connsiteX2" fmla="*/ 71317 w 330150"/>
                  <a:gd name="connsiteY2" fmla="*/ 6995 h 374039"/>
                  <a:gd name="connsiteX3" fmla="*/ 0 w 330150"/>
                  <a:gd name="connsiteY3" fmla="*/ 6995 h 374039"/>
                  <a:gd name="connsiteX4" fmla="*/ 0 w 330150"/>
                  <a:gd name="connsiteY4" fmla="*/ 374039 h 374039"/>
                  <a:gd name="connsiteX5" fmla="*/ 80113 w 330150"/>
                  <a:gd name="connsiteY5" fmla="*/ 374039 h 374039"/>
                  <a:gd name="connsiteX6" fmla="*/ 80113 w 330150"/>
                  <a:gd name="connsiteY6" fmla="*/ 135484 h 374039"/>
                  <a:gd name="connsiteX7" fmla="*/ 183522 w 330150"/>
                  <a:gd name="connsiteY7" fmla="*/ 76053 h 374039"/>
                  <a:gd name="connsiteX8" fmla="*/ 249966 w 330150"/>
                  <a:gd name="connsiteY8" fmla="*/ 150699 h 374039"/>
                  <a:gd name="connsiteX9" fmla="*/ 249966 w 330150"/>
                  <a:gd name="connsiteY9" fmla="*/ 374039 h 374039"/>
                  <a:gd name="connsiteX10" fmla="*/ 330079 w 330150"/>
                  <a:gd name="connsiteY10" fmla="*/ 374039 h 374039"/>
                  <a:gd name="connsiteX11" fmla="*/ 330079 w 330150"/>
                  <a:gd name="connsiteY11" fmla="*/ 143210 h 374039"/>
                  <a:gd name="connsiteX12" fmla="*/ 295133 w 330150"/>
                  <a:gd name="connsiteY12" fmla="*/ 41584 h 374039"/>
                  <a:gd name="connsiteX13" fmla="*/ 198737 w 330150"/>
                  <a:gd name="connsiteY13" fmla="*/ 101 h 374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30150" h="374039">
                    <a:moveTo>
                      <a:pt x="198737" y="101"/>
                    </a:moveTo>
                    <a:cubicBezTo>
                      <a:pt x="153641" y="541"/>
                      <a:pt x="110553" y="18834"/>
                      <a:pt x="78924" y="50974"/>
                    </a:cubicBezTo>
                    <a:lnTo>
                      <a:pt x="71317" y="6995"/>
                    </a:lnTo>
                    <a:lnTo>
                      <a:pt x="0" y="6995"/>
                    </a:lnTo>
                    <a:lnTo>
                      <a:pt x="0" y="374039"/>
                    </a:lnTo>
                    <a:lnTo>
                      <a:pt x="80113" y="374039"/>
                    </a:lnTo>
                    <a:lnTo>
                      <a:pt x="80113" y="135484"/>
                    </a:lnTo>
                    <a:cubicBezTo>
                      <a:pt x="112800" y="95666"/>
                      <a:pt x="147626" y="76053"/>
                      <a:pt x="183522" y="76053"/>
                    </a:cubicBezTo>
                    <a:cubicBezTo>
                      <a:pt x="228928" y="76053"/>
                      <a:pt x="249966" y="99826"/>
                      <a:pt x="249966" y="150699"/>
                    </a:cubicBezTo>
                    <a:lnTo>
                      <a:pt x="249966" y="374039"/>
                    </a:lnTo>
                    <a:lnTo>
                      <a:pt x="330079" y="374039"/>
                    </a:lnTo>
                    <a:lnTo>
                      <a:pt x="330079" y="143210"/>
                    </a:lnTo>
                    <a:cubicBezTo>
                      <a:pt x="331220" y="106205"/>
                      <a:pt x="318799" y="70058"/>
                      <a:pt x="295133" y="41584"/>
                    </a:cubicBezTo>
                    <a:cubicBezTo>
                      <a:pt x="270945" y="13859"/>
                      <a:pt x="235501" y="-1398"/>
                      <a:pt x="198737" y="101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63" name="Freeform: Shape 33">
                <a:extLst>
                  <a:ext uri="{FF2B5EF4-FFF2-40B4-BE49-F238E27FC236}">
                    <a16:creationId xmlns:a16="http://schemas.microsoft.com/office/drawing/2014/main" id="{966D89D5-1AD2-DD84-09EC-057CE682D7FC}"/>
                  </a:ext>
                </a:extLst>
              </p:cNvPr>
              <p:cNvSpPr/>
              <p:nvPr/>
            </p:nvSpPr>
            <p:spPr>
              <a:xfrm>
                <a:off x="2765939" y="489002"/>
                <a:ext cx="244854" cy="461658"/>
              </a:xfrm>
              <a:custGeom>
                <a:avLst/>
                <a:gdLst>
                  <a:gd name="connsiteX0" fmla="*/ 145249 w 244854"/>
                  <a:gd name="connsiteY0" fmla="*/ 0 h 461658"/>
                  <a:gd name="connsiteX1" fmla="*/ 0 w 244854"/>
                  <a:gd name="connsiteY1" fmla="*/ 142040 h 461658"/>
                  <a:gd name="connsiteX2" fmla="*/ 0 w 244854"/>
                  <a:gd name="connsiteY2" fmla="*/ 158799 h 461658"/>
                  <a:gd name="connsiteX3" fmla="*/ 65136 w 244854"/>
                  <a:gd name="connsiteY3" fmla="*/ 158799 h 461658"/>
                  <a:gd name="connsiteX4" fmla="*/ 65136 w 244854"/>
                  <a:gd name="connsiteY4" fmla="*/ 362290 h 461658"/>
                  <a:gd name="connsiteX5" fmla="*/ 174014 w 244854"/>
                  <a:gd name="connsiteY5" fmla="*/ 461658 h 461658"/>
                  <a:gd name="connsiteX6" fmla="*/ 239744 w 244854"/>
                  <a:gd name="connsiteY6" fmla="*/ 445493 h 461658"/>
                  <a:gd name="connsiteX7" fmla="*/ 244498 w 244854"/>
                  <a:gd name="connsiteY7" fmla="*/ 442997 h 461658"/>
                  <a:gd name="connsiteX8" fmla="*/ 244498 w 244854"/>
                  <a:gd name="connsiteY8" fmla="*/ 377980 h 461658"/>
                  <a:gd name="connsiteX9" fmla="*/ 228928 w 244854"/>
                  <a:gd name="connsiteY9" fmla="*/ 377980 h 461658"/>
                  <a:gd name="connsiteX10" fmla="*/ 227263 w 244854"/>
                  <a:gd name="connsiteY10" fmla="*/ 378693 h 461658"/>
                  <a:gd name="connsiteX11" fmla="*/ 155946 w 244854"/>
                  <a:gd name="connsiteY11" fmla="*/ 384161 h 461658"/>
                  <a:gd name="connsiteX12" fmla="*/ 145605 w 244854"/>
                  <a:gd name="connsiteY12" fmla="*/ 356704 h 461658"/>
                  <a:gd name="connsiteX13" fmla="*/ 145605 w 244854"/>
                  <a:gd name="connsiteY13" fmla="*/ 158799 h 461658"/>
                  <a:gd name="connsiteX14" fmla="*/ 244855 w 244854"/>
                  <a:gd name="connsiteY14" fmla="*/ 158799 h 461658"/>
                  <a:gd name="connsiteX15" fmla="*/ 244855 w 244854"/>
                  <a:gd name="connsiteY15" fmla="*/ 87482 h 461658"/>
                  <a:gd name="connsiteX16" fmla="*/ 145605 w 244854"/>
                  <a:gd name="connsiteY16" fmla="*/ 87482 h 461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44854" h="461658">
                    <a:moveTo>
                      <a:pt x="145249" y="0"/>
                    </a:moveTo>
                    <a:lnTo>
                      <a:pt x="0" y="142040"/>
                    </a:lnTo>
                    <a:lnTo>
                      <a:pt x="0" y="158799"/>
                    </a:lnTo>
                    <a:lnTo>
                      <a:pt x="65136" y="158799"/>
                    </a:lnTo>
                    <a:lnTo>
                      <a:pt x="65136" y="362290"/>
                    </a:lnTo>
                    <a:cubicBezTo>
                      <a:pt x="65136" y="427307"/>
                      <a:pt x="102696" y="461658"/>
                      <a:pt x="174014" y="461658"/>
                    </a:cubicBezTo>
                    <a:cubicBezTo>
                      <a:pt x="196906" y="461660"/>
                      <a:pt x="219466" y="456114"/>
                      <a:pt x="239744" y="445493"/>
                    </a:cubicBezTo>
                    <a:lnTo>
                      <a:pt x="244498" y="442997"/>
                    </a:lnTo>
                    <a:lnTo>
                      <a:pt x="244498" y="377980"/>
                    </a:lnTo>
                    <a:lnTo>
                      <a:pt x="228928" y="377980"/>
                    </a:lnTo>
                    <a:lnTo>
                      <a:pt x="227263" y="378693"/>
                    </a:lnTo>
                    <a:cubicBezTo>
                      <a:pt x="205155" y="389916"/>
                      <a:pt x="179505" y="391884"/>
                      <a:pt x="155946" y="384161"/>
                    </a:cubicBezTo>
                    <a:cubicBezTo>
                      <a:pt x="149053" y="381189"/>
                      <a:pt x="145605" y="372274"/>
                      <a:pt x="145605" y="356704"/>
                    </a:cubicBezTo>
                    <a:lnTo>
                      <a:pt x="145605" y="158799"/>
                    </a:lnTo>
                    <a:lnTo>
                      <a:pt x="244855" y="158799"/>
                    </a:lnTo>
                    <a:lnTo>
                      <a:pt x="244855" y="87482"/>
                    </a:lnTo>
                    <a:lnTo>
                      <a:pt x="145605" y="87482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grpSp>
            <p:nvGrpSpPr>
              <p:cNvPr id="64" name="Graphic 6">
                <a:extLst>
                  <a:ext uri="{FF2B5EF4-FFF2-40B4-BE49-F238E27FC236}">
                    <a16:creationId xmlns:a16="http://schemas.microsoft.com/office/drawing/2014/main" id="{B080F4DB-3CD1-1FF1-8ECB-D19DD2FC6A92}"/>
                  </a:ext>
                </a:extLst>
              </p:cNvPr>
              <p:cNvGrpSpPr/>
              <p:nvPr/>
            </p:nvGrpSpPr>
            <p:grpSpPr>
              <a:xfrm>
                <a:off x="3057387" y="435515"/>
                <a:ext cx="84986" cy="508252"/>
                <a:chOff x="3057387" y="435515"/>
                <a:chExt cx="84986" cy="508252"/>
              </a:xfrm>
              <a:solidFill>
                <a:srgbClr val="0D4E96"/>
              </a:solidFill>
            </p:grpSpPr>
            <p:sp>
              <p:nvSpPr>
                <p:cNvPr id="68" name="Freeform: Shape 38">
                  <a:extLst>
                    <a:ext uri="{FF2B5EF4-FFF2-40B4-BE49-F238E27FC236}">
                      <a16:creationId xmlns:a16="http://schemas.microsoft.com/office/drawing/2014/main" id="{7BABF569-16B1-B56D-B1FF-B908BC9F5E3C}"/>
                    </a:ext>
                  </a:extLst>
                </p:cNvPr>
                <p:cNvSpPr/>
                <p:nvPr/>
              </p:nvSpPr>
              <p:spPr>
                <a:xfrm>
                  <a:off x="3057387" y="435515"/>
                  <a:ext cx="84986" cy="84986"/>
                </a:xfrm>
                <a:custGeom>
                  <a:avLst/>
                  <a:gdLst>
                    <a:gd name="connsiteX0" fmla="*/ 0 w 84986"/>
                    <a:gd name="connsiteY0" fmla="*/ 0 h 84986"/>
                    <a:gd name="connsiteX1" fmla="*/ 84986 w 84986"/>
                    <a:gd name="connsiteY1" fmla="*/ 0 h 84986"/>
                    <a:gd name="connsiteX2" fmla="*/ 84986 w 84986"/>
                    <a:gd name="connsiteY2" fmla="*/ 84986 h 84986"/>
                    <a:gd name="connsiteX3" fmla="*/ 0 w 84986"/>
                    <a:gd name="connsiteY3" fmla="*/ 84986 h 84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986" h="84986">
                      <a:moveTo>
                        <a:pt x="0" y="0"/>
                      </a:moveTo>
                      <a:lnTo>
                        <a:pt x="84986" y="0"/>
                      </a:lnTo>
                      <a:lnTo>
                        <a:pt x="84986" y="84986"/>
                      </a:lnTo>
                      <a:lnTo>
                        <a:pt x="0" y="84986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  <p:sp>
              <p:nvSpPr>
                <p:cNvPr id="69" name="Freeform: Shape 39">
                  <a:extLst>
                    <a:ext uri="{FF2B5EF4-FFF2-40B4-BE49-F238E27FC236}">
                      <a16:creationId xmlns:a16="http://schemas.microsoft.com/office/drawing/2014/main" id="{4549D1F9-3E73-E536-4C59-2CC0FB142A59}"/>
                    </a:ext>
                  </a:extLst>
                </p:cNvPr>
                <p:cNvSpPr/>
                <p:nvPr/>
              </p:nvSpPr>
              <p:spPr>
                <a:xfrm>
                  <a:off x="3059883" y="576603"/>
                  <a:ext cx="80112" cy="367163"/>
                </a:xfrm>
                <a:custGeom>
                  <a:avLst/>
                  <a:gdLst>
                    <a:gd name="connsiteX0" fmla="*/ 0 w 80112"/>
                    <a:gd name="connsiteY0" fmla="*/ 0 h 367163"/>
                    <a:gd name="connsiteX1" fmla="*/ 80113 w 80112"/>
                    <a:gd name="connsiteY1" fmla="*/ 0 h 367163"/>
                    <a:gd name="connsiteX2" fmla="*/ 80113 w 80112"/>
                    <a:gd name="connsiteY2" fmla="*/ 367163 h 367163"/>
                    <a:gd name="connsiteX3" fmla="*/ 0 w 80112"/>
                    <a:gd name="connsiteY3" fmla="*/ 367163 h 36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12" h="367163">
                      <a:moveTo>
                        <a:pt x="0" y="0"/>
                      </a:moveTo>
                      <a:lnTo>
                        <a:pt x="80113" y="0"/>
                      </a:lnTo>
                      <a:lnTo>
                        <a:pt x="80113" y="367163"/>
                      </a:lnTo>
                      <a:lnTo>
                        <a:pt x="0" y="367163"/>
                      </a:lnTo>
                      <a:close/>
                    </a:path>
                  </a:pathLst>
                </a:custGeom>
                <a:solidFill>
                  <a:srgbClr val="0D4E96"/>
                </a:solidFill>
                <a:ln w="118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50"/>
                </a:p>
              </p:txBody>
            </p:sp>
          </p:grpSp>
          <p:sp>
            <p:nvSpPr>
              <p:cNvPr id="65" name="Freeform: Shape 35">
                <a:extLst>
                  <a:ext uri="{FF2B5EF4-FFF2-40B4-BE49-F238E27FC236}">
                    <a16:creationId xmlns:a16="http://schemas.microsoft.com/office/drawing/2014/main" id="{A55E19C1-6457-6386-A501-48DCEF5C69F1}"/>
                  </a:ext>
                </a:extLst>
              </p:cNvPr>
              <p:cNvSpPr/>
              <p:nvPr/>
            </p:nvSpPr>
            <p:spPr>
              <a:xfrm>
                <a:off x="3183329" y="569498"/>
                <a:ext cx="283572" cy="381052"/>
              </a:xfrm>
              <a:custGeom>
                <a:avLst/>
                <a:gdLst>
                  <a:gd name="connsiteX0" fmla="*/ 260596 w 283572"/>
                  <a:gd name="connsiteY0" fmla="*/ 201682 h 381052"/>
                  <a:gd name="connsiteX1" fmla="*/ 204969 w 283572"/>
                  <a:gd name="connsiteY1" fmla="*/ 166975 h 381052"/>
                  <a:gd name="connsiteX2" fmla="*/ 144231 w 283572"/>
                  <a:gd name="connsiteY2" fmla="*/ 151047 h 381052"/>
                  <a:gd name="connsiteX3" fmla="*/ 94071 w 283572"/>
                  <a:gd name="connsiteY3" fmla="*/ 133218 h 381052"/>
                  <a:gd name="connsiteX4" fmla="*/ 77431 w 283572"/>
                  <a:gd name="connsiteY4" fmla="*/ 111229 h 381052"/>
                  <a:gd name="connsiteX5" fmla="*/ 94071 w 283572"/>
                  <a:gd name="connsiteY5" fmla="*/ 86386 h 381052"/>
                  <a:gd name="connsiteX6" fmla="*/ 154096 w 283572"/>
                  <a:gd name="connsiteY6" fmla="*/ 74500 h 381052"/>
                  <a:gd name="connsiteX7" fmla="*/ 240390 w 283572"/>
                  <a:gd name="connsiteY7" fmla="*/ 93043 h 381052"/>
                  <a:gd name="connsiteX8" fmla="*/ 242054 w 283572"/>
                  <a:gd name="connsiteY8" fmla="*/ 93756 h 381052"/>
                  <a:gd name="connsiteX9" fmla="*/ 257625 w 283572"/>
                  <a:gd name="connsiteY9" fmla="*/ 93756 h 381052"/>
                  <a:gd name="connsiteX10" fmla="*/ 257625 w 283572"/>
                  <a:gd name="connsiteY10" fmla="*/ 22082 h 381052"/>
                  <a:gd name="connsiteX11" fmla="*/ 251801 w 283572"/>
                  <a:gd name="connsiteY11" fmla="*/ 19943 h 381052"/>
                  <a:gd name="connsiteX12" fmla="*/ 137694 w 283572"/>
                  <a:gd name="connsiteY12" fmla="*/ 212 h 381052"/>
                  <a:gd name="connsiteX13" fmla="*/ 37731 w 283572"/>
                  <a:gd name="connsiteY13" fmla="*/ 32186 h 381052"/>
                  <a:gd name="connsiteX14" fmla="*/ 52 w 283572"/>
                  <a:gd name="connsiteY14" fmla="*/ 117053 h 381052"/>
                  <a:gd name="connsiteX15" fmla="*/ 23824 w 283572"/>
                  <a:gd name="connsiteY15" fmla="*/ 180644 h 381052"/>
                  <a:gd name="connsiteX16" fmla="*/ 79689 w 283572"/>
                  <a:gd name="connsiteY16" fmla="*/ 213925 h 381052"/>
                  <a:gd name="connsiteX17" fmla="*/ 140071 w 283572"/>
                  <a:gd name="connsiteY17" fmla="*/ 230090 h 381052"/>
                  <a:gd name="connsiteX18" fmla="*/ 189517 w 283572"/>
                  <a:gd name="connsiteY18" fmla="*/ 247563 h 381052"/>
                  <a:gd name="connsiteX19" fmla="*/ 205563 w 283572"/>
                  <a:gd name="connsiteY19" fmla="*/ 265273 h 381052"/>
                  <a:gd name="connsiteX20" fmla="*/ 138525 w 283572"/>
                  <a:gd name="connsiteY20" fmla="*/ 305330 h 381052"/>
                  <a:gd name="connsiteX21" fmla="*/ 21209 w 283572"/>
                  <a:gd name="connsiteY21" fmla="*/ 273712 h 381052"/>
                  <a:gd name="connsiteX22" fmla="*/ 19070 w 283572"/>
                  <a:gd name="connsiteY22" fmla="*/ 272405 h 381052"/>
                  <a:gd name="connsiteX23" fmla="*/ 4093 w 283572"/>
                  <a:gd name="connsiteY23" fmla="*/ 272405 h 381052"/>
                  <a:gd name="connsiteX24" fmla="*/ 4093 w 283572"/>
                  <a:gd name="connsiteY24" fmla="*/ 346218 h 381052"/>
                  <a:gd name="connsiteX25" fmla="*/ 8729 w 283572"/>
                  <a:gd name="connsiteY25" fmla="*/ 348714 h 381052"/>
                  <a:gd name="connsiteX26" fmla="*/ 137218 w 283572"/>
                  <a:gd name="connsiteY26" fmla="*/ 381044 h 381052"/>
                  <a:gd name="connsiteX27" fmla="*/ 245620 w 283572"/>
                  <a:gd name="connsiteY27" fmla="*/ 350259 h 381052"/>
                  <a:gd name="connsiteX28" fmla="*/ 283418 w 283572"/>
                  <a:gd name="connsiteY28" fmla="*/ 272999 h 381052"/>
                  <a:gd name="connsiteX29" fmla="*/ 260596 w 283572"/>
                  <a:gd name="connsiteY29" fmla="*/ 201682 h 381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83572" h="381052">
                    <a:moveTo>
                      <a:pt x="260596" y="201682"/>
                    </a:moveTo>
                    <a:cubicBezTo>
                      <a:pt x="246071" y="184666"/>
                      <a:pt x="226638" y="172546"/>
                      <a:pt x="204969" y="166975"/>
                    </a:cubicBezTo>
                    <a:lnTo>
                      <a:pt x="144231" y="151047"/>
                    </a:lnTo>
                    <a:cubicBezTo>
                      <a:pt x="126996" y="146672"/>
                      <a:pt x="110201" y="140703"/>
                      <a:pt x="94071" y="133218"/>
                    </a:cubicBezTo>
                    <a:cubicBezTo>
                      <a:pt x="79213" y="125967"/>
                      <a:pt x="77431" y="117172"/>
                      <a:pt x="77431" y="111229"/>
                    </a:cubicBezTo>
                    <a:cubicBezTo>
                      <a:pt x="78025" y="100532"/>
                      <a:pt x="84408" y="91011"/>
                      <a:pt x="94071" y="86386"/>
                    </a:cubicBezTo>
                    <a:cubicBezTo>
                      <a:pt x="112721" y="77307"/>
                      <a:pt x="133402" y="73211"/>
                      <a:pt x="154096" y="74500"/>
                    </a:cubicBezTo>
                    <a:cubicBezTo>
                      <a:pt x="183800" y="74908"/>
                      <a:pt x="213135" y="81210"/>
                      <a:pt x="240390" y="93043"/>
                    </a:cubicBezTo>
                    <a:lnTo>
                      <a:pt x="242054" y="93756"/>
                    </a:lnTo>
                    <a:lnTo>
                      <a:pt x="257625" y="93756"/>
                    </a:lnTo>
                    <a:lnTo>
                      <a:pt x="257625" y="22082"/>
                    </a:lnTo>
                    <a:lnTo>
                      <a:pt x="251801" y="19943"/>
                    </a:lnTo>
                    <a:cubicBezTo>
                      <a:pt x="215251" y="6610"/>
                      <a:pt x="176597" y="-72"/>
                      <a:pt x="137694" y="212"/>
                    </a:cubicBezTo>
                    <a:cubicBezTo>
                      <a:pt x="101583" y="-1723"/>
                      <a:pt x="66020" y="9653"/>
                      <a:pt x="37731" y="32186"/>
                    </a:cubicBezTo>
                    <a:cubicBezTo>
                      <a:pt x="12912" y="53264"/>
                      <a:pt x="-959" y="84504"/>
                      <a:pt x="52" y="117053"/>
                    </a:cubicBezTo>
                    <a:cubicBezTo>
                      <a:pt x="-662" y="140545"/>
                      <a:pt x="7873" y="163378"/>
                      <a:pt x="23824" y="180644"/>
                    </a:cubicBezTo>
                    <a:cubicBezTo>
                      <a:pt x="38920" y="196795"/>
                      <a:pt x="58294" y="208335"/>
                      <a:pt x="79689" y="213925"/>
                    </a:cubicBezTo>
                    <a:lnTo>
                      <a:pt x="140071" y="230090"/>
                    </a:lnTo>
                    <a:cubicBezTo>
                      <a:pt x="157032" y="234471"/>
                      <a:pt x="173578" y="240318"/>
                      <a:pt x="189517" y="247563"/>
                    </a:cubicBezTo>
                    <a:cubicBezTo>
                      <a:pt x="205563" y="255170"/>
                      <a:pt x="205563" y="262777"/>
                      <a:pt x="205563" y="265273"/>
                    </a:cubicBezTo>
                    <a:cubicBezTo>
                      <a:pt x="205563" y="282508"/>
                      <a:pt x="198670" y="305330"/>
                      <a:pt x="138525" y="305330"/>
                    </a:cubicBezTo>
                    <a:cubicBezTo>
                      <a:pt x="97281" y="305633"/>
                      <a:pt x="56725" y="294703"/>
                      <a:pt x="21209" y="273712"/>
                    </a:cubicBezTo>
                    <a:lnTo>
                      <a:pt x="19070" y="272405"/>
                    </a:lnTo>
                    <a:lnTo>
                      <a:pt x="4093" y="272405"/>
                    </a:lnTo>
                    <a:lnTo>
                      <a:pt x="4093" y="346218"/>
                    </a:lnTo>
                    <a:lnTo>
                      <a:pt x="8729" y="348714"/>
                    </a:lnTo>
                    <a:cubicBezTo>
                      <a:pt x="48107" y="370268"/>
                      <a:pt x="92336" y="381397"/>
                      <a:pt x="137218" y="381044"/>
                    </a:cubicBezTo>
                    <a:cubicBezTo>
                      <a:pt x="184763" y="381044"/>
                      <a:pt x="221134" y="370703"/>
                      <a:pt x="245620" y="350259"/>
                    </a:cubicBezTo>
                    <a:cubicBezTo>
                      <a:pt x="269570" y="331806"/>
                      <a:pt x="283549" y="303236"/>
                      <a:pt x="283418" y="272999"/>
                    </a:cubicBezTo>
                    <a:cubicBezTo>
                      <a:pt x="284820" y="247232"/>
                      <a:pt x="276690" y="221851"/>
                      <a:pt x="260596" y="201682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66" name="Freeform: Shape 36">
                <a:extLst>
                  <a:ext uri="{FF2B5EF4-FFF2-40B4-BE49-F238E27FC236}">
                    <a16:creationId xmlns:a16="http://schemas.microsoft.com/office/drawing/2014/main" id="{488AD185-8AEC-1079-F21D-719F04B64D64}"/>
                  </a:ext>
                </a:extLst>
              </p:cNvPr>
              <p:cNvSpPr/>
              <p:nvPr/>
            </p:nvSpPr>
            <p:spPr>
              <a:xfrm>
                <a:off x="2036786" y="569709"/>
                <a:ext cx="338916" cy="380888"/>
              </a:xfrm>
              <a:custGeom>
                <a:avLst/>
                <a:gdLst>
                  <a:gd name="connsiteX0" fmla="*/ 174544 w 338916"/>
                  <a:gd name="connsiteY0" fmla="*/ 1 h 380888"/>
                  <a:gd name="connsiteX1" fmla="*/ 110002 w 338916"/>
                  <a:gd name="connsiteY1" fmla="*/ 11887 h 380888"/>
                  <a:gd name="connsiteX2" fmla="*/ 54138 w 338916"/>
                  <a:gd name="connsiteY2" fmla="*/ 47545 h 380888"/>
                  <a:gd name="connsiteX3" fmla="*/ 15151 w 338916"/>
                  <a:gd name="connsiteY3" fmla="*/ 106976 h 380888"/>
                  <a:gd name="connsiteX4" fmla="*/ 56 w 338916"/>
                  <a:gd name="connsiteY4" fmla="*/ 192200 h 380888"/>
                  <a:gd name="connsiteX5" fmla="*/ 11942 w 338916"/>
                  <a:gd name="connsiteY5" fmla="*/ 267558 h 380888"/>
                  <a:gd name="connsiteX6" fmla="*/ 47600 w 338916"/>
                  <a:gd name="connsiteY6" fmla="*/ 326989 h 380888"/>
                  <a:gd name="connsiteX7" fmla="*/ 107031 w 338916"/>
                  <a:gd name="connsiteY7" fmla="*/ 366570 h 380888"/>
                  <a:gd name="connsiteX8" fmla="*/ 193206 w 338916"/>
                  <a:gd name="connsiteY8" fmla="*/ 380833 h 380888"/>
                  <a:gd name="connsiteX9" fmla="*/ 231360 w 338916"/>
                  <a:gd name="connsiteY9" fmla="*/ 378694 h 380888"/>
                  <a:gd name="connsiteX10" fmla="*/ 266305 w 338916"/>
                  <a:gd name="connsiteY10" fmla="*/ 373464 h 380888"/>
                  <a:gd name="connsiteX11" fmla="*/ 295070 w 338916"/>
                  <a:gd name="connsiteY11" fmla="*/ 366570 h 380888"/>
                  <a:gd name="connsiteX12" fmla="*/ 313731 w 338916"/>
                  <a:gd name="connsiteY12" fmla="*/ 359795 h 380888"/>
                  <a:gd name="connsiteX13" fmla="*/ 302677 w 338916"/>
                  <a:gd name="connsiteY13" fmla="*/ 293470 h 380888"/>
                  <a:gd name="connsiteX14" fmla="*/ 262621 w 338916"/>
                  <a:gd name="connsiteY14" fmla="*/ 305356 h 380888"/>
                  <a:gd name="connsiteX15" fmla="*/ 204141 w 338916"/>
                  <a:gd name="connsiteY15" fmla="*/ 311062 h 380888"/>
                  <a:gd name="connsiteX16" fmla="*/ 120938 w 338916"/>
                  <a:gd name="connsiteY16" fmla="*/ 286576 h 380888"/>
                  <a:gd name="connsiteX17" fmla="*/ 88251 w 338916"/>
                  <a:gd name="connsiteY17" fmla="*/ 217399 h 380888"/>
                  <a:gd name="connsiteX18" fmla="*/ 88251 w 338916"/>
                  <a:gd name="connsiteY18" fmla="*/ 215735 h 380888"/>
                  <a:gd name="connsiteX19" fmla="*/ 337860 w 338916"/>
                  <a:gd name="connsiteY19" fmla="*/ 215735 h 380888"/>
                  <a:gd name="connsiteX20" fmla="*/ 338811 w 338916"/>
                  <a:gd name="connsiteY20" fmla="*/ 201471 h 380888"/>
                  <a:gd name="connsiteX21" fmla="*/ 338811 w 338916"/>
                  <a:gd name="connsiteY21" fmla="*/ 185781 h 380888"/>
                  <a:gd name="connsiteX22" fmla="*/ 295427 w 338916"/>
                  <a:gd name="connsiteY22" fmla="*/ 46951 h 380888"/>
                  <a:gd name="connsiteX23" fmla="*/ 174544 w 338916"/>
                  <a:gd name="connsiteY23" fmla="*/ 1 h 380888"/>
                  <a:gd name="connsiteX24" fmla="*/ 254063 w 338916"/>
                  <a:gd name="connsiteY24" fmla="*/ 155947 h 380888"/>
                  <a:gd name="connsiteX25" fmla="*/ 87656 w 338916"/>
                  <a:gd name="connsiteY25" fmla="*/ 155947 h 380888"/>
                  <a:gd name="connsiteX26" fmla="*/ 87656 w 338916"/>
                  <a:gd name="connsiteY26" fmla="*/ 154164 h 380888"/>
                  <a:gd name="connsiteX27" fmla="*/ 95739 w 338916"/>
                  <a:gd name="connsiteY27" fmla="*/ 122428 h 380888"/>
                  <a:gd name="connsiteX28" fmla="*/ 112261 w 338916"/>
                  <a:gd name="connsiteY28" fmla="*/ 94733 h 380888"/>
                  <a:gd name="connsiteX29" fmla="*/ 138410 w 338916"/>
                  <a:gd name="connsiteY29" fmla="*/ 75121 h 380888"/>
                  <a:gd name="connsiteX30" fmla="*/ 174069 w 338916"/>
                  <a:gd name="connsiteY30" fmla="*/ 67633 h 380888"/>
                  <a:gd name="connsiteX31" fmla="*/ 208301 w 338916"/>
                  <a:gd name="connsiteY31" fmla="*/ 74408 h 380888"/>
                  <a:gd name="connsiteX32" fmla="*/ 232073 w 338916"/>
                  <a:gd name="connsiteY32" fmla="*/ 92951 h 380888"/>
                  <a:gd name="connsiteX33" fmla="*/ 247169 w 338916"/>
                  <a:gd name="connsiteY33" fmla="*/ 120764 h 380888"/>
                  <a:gd name="connsiteX34" fmla="*/ 252280 w 338916"/>
                  <a:gd name="connsiteY34" fmla="*/ 154402 h 38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38916" h="380888">
                    <a:moveTo>
                      <a:pt x="174544" y="1"/>
                    </a:moveTo>
                    <a:cubicBezTo>
                      <a:pt x="152484" y="-65"/>
                      <a:pt x="130601" y="3966"/>
                      <a:pt x="110002" y="11887"/>
                    </a:cubicBezTo>
                    <a:cubicBezTo>
                      <a:pt x="89154" y="19848"/>
                      <a:pt x="70136" y="31982"/>
                      <a:pt x="54138" y="47545"/>
                    </a:cubicBezTo>
                    <a:cubicBezTo>
                      <a:pt x="37224" y="64490"/>
                      <a:pt x="23959" y="84715"/>
                      <a:pt x="15151" y="106976"/>
                    </a:cubicBezTo>
                    <a:cubicBezTo>
                      <a:pt x="4525" y="134105"/>
                      <a:pt x="-598" y="163073"/>
                      <a:pt x="56" y="192200"/>
                    </a:cubicBezTo>
                    <a:cubicBezTo>
                      <a:pt x="-63" y="217796"/>
                      <a:pt x="3954" y="243243"/>
                      <a:pt x="11942" y="267558"/>
                    </a:cubicBezTo>
                    <a:cubicBezTo>
                      <a:pt x="19394" y="289714"/>
                      <a:pt x="31554" y="309989"/>
                      <a:pt x="47600" y="326989"/>
                    </a:cubicBezTo>
                    <a:cubicBezTo>
                      <a:pt x="64169" y="344497"/>
                      <a:pt x="84483" y="358030"/>
                      <a:pt x="107031" y="366570"/>
                    </a:cubicBezTo>
                    <a:cubicBezTo>
                      <a:pt x="134619" y="376630"/>
                      <a:pt x="163847" y="381467"/>
                      <a:pt x="193206" y="380833"/>
                    </a:cubicBezTo>
                    <a:cubicBezTo>
                      <a:pt x="205959" y="380842"/>
                      <a:pt x="218689" y="380127"/>
                      <a:pt x="231360" y="378694"/>
                    </a:cubicBezTo>
                    <a:cubicBezTo>
                      <a:pt x="243841" y="377386"/>
                      <a:pt x="255133" y="375603"/>
                      <a:pt x="266305" y="373464"/>
                    </a:cubicBezTo>
                    <a:cubicBezTo>
                      <a:pt x="276005" y="371663"/>
                      <a:pt x="285609" y="369362"/>
                      <a:pt x="295070" y="366570"/>
                    </a:cubicBezTo>
                    <a:cubicBezTo>
                      <a:pt x="301429" y="364710"/>
                      <a:pt x="307657" y="362447"/>
                      <a:pt x="313731" y="359795"/>
                    </a:cubicBezTo>
                    <a:lnTo>
                      <a:pt x="302677" y="293470"/>
                    </a:lnTo>
                    <a:cubicBezTo>
                      <a:pt x="289697" y="298588"/>
                      <a:pt x="276290" y="302565"/>
                      <a:pt x="262621" y="305356"/>
                    </a:cubicBezTo>
                    <a:cubicBezTo>
                      <a:pt x="243389" y="309318"/>
                      <a:pt x="223777" y="311230"/>
                      <a:pt x="204141" y="311062"/>
                    </a:cubicBezTo>
                    <a:cubicBezTo>
                      <a:pt x="167769" y="311062"/>
                      <a:pt x="139718" y="302741"/>
                      <a:pt x="120938" y="286576"/>
                    </a:cubicBezTo>
                    <a:cubicBezTo>
                      <a:pt x="101017" y="268979"/>
                      <a:pt x="89190" y="243967"/>
                      <a:pt x="88251" y="217399"/>
                    </a:cubicBezTo>
                    <a:lnTo>
                      <a:pt x="88251" y="215735"/>
                    </a:lnTo>
                    <a:lnTo>
                      <a:pt x="337860" y="215735"/>
                    </a:lnTo>
                    <a:cubicBezTo>
                      <a:pt x="337860" y="211574"/>
                      <a:pt x="338573" y="206701"/>
                      <a:pt x="338811" y="201471"/>
                    </a:cubicBezTo>
                    <a:cubicBezTo>
                      <a:pt x="339049" y="196241"/>
                      <a:pt x="338811" y="190298"/>
                      <a:pt x="338811" y="185781"/>
                    </a:cubicBezTo>
                    <a:cubicBezTo>
                      <a:pt x="338811" y="124449"/>
                      <a:pt x="324191" y="77736"/>
                      <a:pt x="295427" y="46951"/>
                    </a:cubicBezTo>
                    <a:cubicBezTo>
                      <a:pt x="266662" y="16166"/>
                      <a:pt x="225893" y="1"/>
                      <a:pt x="174544" y="1"/>
                    </a:cubicBezTo>
                    <a:close/>
                    <a:moveTo>
                      <a:pt x="254063" y="155947"/>
                    </a:moveTo>
                    <a:lnTo>
                      <a:pt x="87656" y="155947"/>
                    </a:lnTo>
                    <a:lnTo>
                      <a:pt x="87656" y="154164"/>
                    </a:lnTo>
                    <a:cubicBezTo>
                      <a:pt x="89095" y="143305"/>
                      <a:pt x="91805" y="132654"/>
                      <a:pt x="95739" y="122428"/>
                    </a:cubicBezTo>
                    <a:cubicBezTo>
                      <a:pt x="99448" y="112236"/>
                      <a:pt x="105058" y="102839"/>
                      <a:pt x="112261" y="94733"/>
                    </a:cubicBezTo>
                    <a:cubicBezTo>
                      <a:pt x="119547" y="86476"/>
                      <a:pt x="128438" y="79801"/>
                      <a:pt x="138410" y="75121"/>
                    </a:cubicBezTo>
                    <a:cubicBezTo>
                      <a:pt x="149583" y="69968"/>
                      <a:pt x="161767" y="67407"/>
                      <a:pt x="174069" y="67633"/>
                    </a:cubicBezTo>
                    <a:cubicBezTo>
                      <a:pt x="185836" y="67329"/>
                      <a:pt x="197532" y="69643"/>
                      <a:pt x="208301" y="74408"/>
                    </a:cubicBezTo>
                    <a:cubicBezTo>
                      <a:pt x="217418" y="78888"/>
                      <a:pt x="225512" y="85200"/>
                      <a:pt x="232073" y="92951"/>
                    </a:cubicBezTo>
                    <a:cubicBezTo>
                      <a:pt x="238837" y="101171"/>
                      <a:pt x="243960" y="110612"/>
                      <a:pt x="247169" y="120764"/>
                    </a:cubicBezTo>
                    <a:cubicBezTo>
                      <a:pt x="250580" y="131651"/>
                      <a:pt x="252304" y="142994"/>
                      <a:pt x="252280" y="154402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67" name="Freeform: Shape 37">
                <a:extLst>
                  <a:ext uri="{FF2B5EF4-FFF2-40B4-BE49-F238E27FC236}">
                    <a16:creationId xmlns:a16="http://schemas.microsoft.com/office/drawing/2014/main" id="{01433972-BA7D-C5FA-5B06-7E8C6E9BEDA9}"/>
                  </a:ext>
                </a:extLst>
              </p:cNvPr>
              <p:cNvSpPr/>
              <p:nvPr/>
            </p:nvSpPr>
            <p:spPr>
              <a:xfrm>
                <a:off x="1727089" y="567131"/>
                <a:ext cx="321639" cy="380398"/>
              </a:xfrm>
              <a:custGeom>
                <a:avLst/>
                <a:gdLst>
                  <a:gd name="connsiteX0" fmla="*/ 209672 w 321639"/>
                  <a:gd name="connsiteY0" fmla="*/ 83 h 380398"/>
                  <a:gd name="connsiteX1" fmla="*/ 0 w 321639"/>
                  <a:gd name="connsiteY1" fmla="*/ 190261 h 380398"/>
                  <a:gd name="connsiteX2" fmla="*/ 0 w 321639"/>
                  <a:gd name="connsiteY2" fmla="*/ 191688 h 380398"/>
                  <a:gd name="connsiteX3" fmla="*/ 208959 w 321639"/>
                  <a:gd name="connsiteY3" fmla="*/ 380321 h 380398"/>
                  <a:gd name="connsiteX4" fmla="*/ 320094 w 321639"/>
                  <a:gd name="connsiteY4" fmla="*/ 354171 h 380398"/>
                  <a:gd name="connsiteX5" fmla="*/ 319262 w 321639"/>
                  <a:gd name="connsiteY5" fmla="*/ 353339 h 380398"/>
                  <a:gd name="connsiteX6" fmla="*/ 315102 w 321639"/>
                  <a:gd name="connsiteY6" fmla="*/ 349417 h 380398"/>
                  <a:gd name="connsiteX7" fmla="*/ 315102 w 321639"/>
                  <a:gd name="connsiteY7" fmla="*/ 349417 h 380398"/>
                  <a:gd name="connsiteX8" fmla="*/ 280632 w 321639"/>
                  <a:gd name="connsiteY8" fmla="*/ 296286 h 380398"/>
                  <a:gd name="connsiteX9" fmla="*/ 213594 w 321639"/>
                  <a:gd name="connsiteY9" fmla="*/ 312926 h 380398"/>
                  <a:gd name="connsiteX10" fmla="*/ 87672 w 321639"/>
                  <a:gd name="connsiteY10" fmla="*/ 195814 h 380398"/>
                  <a:gd name="connsiteX11" fmla="*/ 87601 w 321639"/>
                  <a:gd name="connsiteY11" fmla="*/ 190261 h 380398"/>
                  <a:gd name="connsiteX12" fmla="*/ 87601 w 321639"/>
                  <a:gd name="connsiteY12" fmla="*/ 189073 h 380398"/>
                  <a:gd name="connsiteX13" fmla="*/ 206213 w 321639"/>
                  <a:gd name="connsiteY13" fmla="*/ 67833 h 380398"/>
                  <a:gd name="connsiteX14" fmla="*/ 208959 w 321639"/>
                  <a:gd name="connsiteY14" fmla="*/ 67834 h 380398"/>
                  <a:gd name="connsiteX15" fmla="*/ 281227 w 321639"/>
                  <a:gd name="connsiteY15" fmla="*/ 86852 h 380398"/>
                  <a:gd name="connsiteX16" fmla="*/ 321639 w 321639"/>
                  <a:gd name="connsiteY16" fmla="*/ 25876 h 380398"/>
                  <a:gd name="connsiteX17" fmla="*/ 209672 w 321639"/>
                  <a:gd name="connsiteY17" fmla="*/ 83 h 380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21639" h="380398">
                    <a:moveTo>
                      <a:pt x="209672" y="83"/>
                    </a:moveTo>
                    <a:cubicBezTo>
                      <a:pt x="92118" y="83"/>
                      <a:pt x="0" y="83880"/>
                      <a:pt x="0" y="190261"/>
                    </a:cubicBezTo>
                    <a:lnTo>
                      <a:pt x="0" y="191688"/>
                    </a:lnTo>
                    <a:cubicBezTo>
                      <a:pt x="0" y="297474"/>
                      <a:pt x="91761" y="380321"/>
                      <a:pt x="208959" y="380321"/>
                    </a:cubicBezTo>
                    <a:cubicBezTo>
                      <a:pt x="247636" y="381337"/>
                      <a:pt x="285921" y="372329"/>
                      <a:pt x="320094" y="354171"/>
                    </a:cubicBezTo>
                    <a:lnTo>
                      <a:pt x="319262" y="353339"/>
                    </a:lnTo>
                    <a:cubicBezTo>
                      <a:pt x="317836" y="352032"/>
                      <a:pt x="316409" y="350843"/>
                      <a:pt x="315102" y="349417"/>
                    </a:cubicBezTo>
                    <a:lnTo>
                      <a:pt x="315102" y="349417"/>
                    </a:lnTo>
                    <a:cubicBezTo>
                      <a:pt x="300660" y="333807"/>
                      <a:pt x="289000" y="315836"/>
                      <a:pt x="280632" y="296286"/>
                    </a:cubicBezTo>
                    <a:cubicBezTo>
                      <a:pt x="260045" y="307381"/>
                      <a:pt x="236986" y="313106"/>
                      <a:pt x="213594" y="312926"/>
                    </a:cubicBezTo>
                    <a:cubicBezTo>
                      <a:pt x="146485" y="315358"/>
                      <a:pt x="90109" y="262925"/>
                      <a:pt x="87672" y="195814"/>
                    </a:cubicBezTo>
                    <a:cubicBezTo>
                      <a:pt x="87613" y="193964"/>
                      <a:pt x="87589" y="192112"/>
                      <a:pt x="87601" y="190261"/>
                    </a:cubicBezTo>
                    <a:lnTo>
                      <a:pt x="87601" y="189073"/>
                    </a:lnTo>
                    <a:cubicBezTo>
                      <a:pt x="86876" y="122841"/>
                      <a:pt x="139971" y="68559"/>
                      <a:pt x="206213" y="67833"/>
                    </a:cubicBezTo>
                    <a:cubicBezTo>
                      <a:pt x="207128" y="67822"/>
                      <a:pt x="208043" y="67823"/>
                      <a:pt x="208959" y="67834"/>
                    </a:cubicBezTo>
                    <a:cubicBezTo>
                      <a:pt x="234336" y="67418"/>
                      <a:pt x="259344" y="73998"/>
                      <a:pt x="281227" y="86852"/>
                    </a:cubicBezTo>
                    <a:cubicBezTo>
                      <a:pt x="290878" y="64237"/>
                      <a:pt x="304571" y="43573"/>
                      <a:pt x="321639" y="25876"/>
                    </a:cubicBezTo>
                    <a:cubicBezTo>
                      <a:pt x="287110" y="7914"/>
                      <a:pt x="248575" y="-962"/>
                      <a:pt x="209672" y="83"/>
                    </a:cubicBez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  <p:grpSp>
          <p:nvGrpSpPr>
            <p:cNvPr id="55" name="Graphic 6">
              <a:extLst>
                <a:ext uri="{FF2B5EF4-FFF2-40B4-BE49-F238E27FC236}">
                  <a16:creationId xmlns:a16="http://schemas.microsoft.com/office/drawing/2014/main" id="{C7A4B36C-DF20-315E-D026-437C551DC7B2}"/>
                </a:ext>
              </a:extLst>
            </p:cNvPr>
            <p:cNvGrpSpPr/>
            <p:nvPr/>
          </p:nvGrpSpPr>
          <p:grpSpPr>
            <a:xfrm>
              <a:off x="335933" y="374658"/>
              <a:ext cx="521802" cy="644467"/>
              <a:chOff x="335933" y="374658"/>
              <a:chExt cx="521802" cy="644467"/>
            </a:xfrm>
            <a:solidFill>
              <a:srgbClr val="0D4E96"/>
            </a:solidFill>
          </p:grpSpPr>
          <p:sp>
            <p:nvSpPr>
              <p:cNvPr id="56" name="Freeform: Shape 26">
                <a:extLst>
                  <a:ext uri="{FF2B5EF4-FFF2-40B4-BE49-F238E27FC236}">
                    <a16:creationId xmlns:a16="http://schemas.microsoft.com/office/drawing/2014/main" id="{938AAEC8-9CA4-229E-7DE8-D9718DC5144D}"/>
                  </a:ext>
                </a:extLst>
              </p:cNvPr>
              <p:cNvSpPr/>
              <p:nvPr/>
            </p:nvSpPr>
            <p:spPr>
              <a:xfrm>
                <a:off x="335933" y="497560"/>
                <a:ext cx="279800" cy="398899"/>
              </a:xfrm>
              <a:custGeom>
                <a:avLst/>
                <a:gdLst>
                  <a:gd name="connsiteX0" fmla="*/ 79875 w 279800"/>
                  <a:gd name="connsiteY0" fmla="*/ 398900 h 398899"/>
                  <a:gd name="connsiteX1" fmla="*/ 0 w 279800"/>
                  <a:gd name="connsiteY1" fmla="*/ 319025 h 398899"/>
                  <a:gd name="connsiteX2" fmla="*/ 120050 w 279800"/>
                  <a:gd name="connsiteY2" fmla="*/ 198974 h 398899"/>
                  <a:gd name="connsiteX3" fmla="*/ 951 w 279800"/>
                  <a:gd name="connsiteY3" fmla="*/ 79756 h 398899"/>
                  <a:gd name="connsiteX4" fmla="*/ 80707 w 279800"/>
                  <a:gd name="connsiteY4" fmla="*/ 0 h 398899"/>
                  <a:gd name="connsiteX5" fmla="*/ 279800 w 279800"/>
                  <a:gd name="connsiteY5" fmla="*/ 198974 h 398899"/>
                  <a:gd name="connsiteX6" fmla="*/ 79875 w 279800"/>
                  <a:gd name="connsiteY6" fmla="*/ 398900 h 398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800" h="398899">
                    <a:moveTo>
                      <a:pt x="79875" y="398900"/>
                    </a:moveTo>
                    <a:lnTo>
                      <a:pt x="0" y="319025"/>
                    </a:lnTo>
                    <a:lnTo>
                      <a:pt x="120050" y="198974"/>
                    </a:lnTo>
                    <a:lnTo>
                      <a:pt x="951" y="79756"/>
                    </a:lnTo>
                    <a:lnTo>
                      <a:pt x="80707" y="0"/>
                    </a:lnTo>
                    <a:lnTo>
                      <a:pt x="279800" y="198974"/>
                    </a:lnTo>
                    <a:lnTo>
                      <a:pt x="79875" y="3989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57" name="Freeform: Shape 27">
                <a:extLst>
                  <a:ext uri="{FF2B5EF4-FFF2-40B4-BE49-F238E27FC236}">
                    <a16:creationId xmlns:a16="http://schemas.microsoft.com/office/drawing/2014/main" id="{F71812F3-E080-965B-0710-2296AD4AD2C5}"/>
                  </a:ext>
                </a:extLst>
              </p:cNvPr>
              <p:cNvSpPr/>
              <p:nvPr/>
            </p:nvSpPr>
            <p:spPr>
              <a:xfrm>
                <a:off x="458598" y="739325"/>
                <a:ext cx="398899" cy="279800"/>
              </a:xfrm>
              <a:custGeom>
                <a:avLst/>
                <a:gdLst>
                  <a:gd name="connsiteX0" fmla="*/ 79875 w 398899"/>
                  <a:gd name="connsiteY0" fmla="*/ 279800 h 279800"/>
                  <a:gd name="connsiteX1" fmla="*/ 0 w 398899"/>
                  <a:gd name="connsiteY1" fmla="*/ 199925 h 279800"/>
                  <a:gd name="connsiteX2" fmla="*/ 199925 w 398899"/>
                  <a:gd name="connsiteY2" fmla="*/ 0 h 279800"/>
                  <a:gd name="connsiteX3" fmla="*/ 398899 w 398899"/>
                  <a:gd name="connsiteY3" fmla="*/ 198974 h 279800"/>
                  <a:gd name="connsiteX4" fmla="*/ 319024 w 398899"/>
                  <a:gd name="connsiteY4" fmla="*/ 278849 h 279800"/>
                  <a:gd name="connsiteX5" fmla="*/ 199925 w 398899"/>
                  <a:gd name="connsiteY5" fmla="*/ 159750 h 279800"/>
                  <a:gd name="connsiteX6" fmla="*/ 79875 w 398899"/>
                  <a:gd name="connsiteY6" fmla="*/ 279800 h 27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899" h="279800">
                    <a:moveTo>
                      <a:pt x="79875" y="279800"/>
                    </a:moveTo>
                    <a:lnTo>
                      <a:pt x="0" y="199925"/>
                    </a:lnTo>
                    <a:lnTo>
                      <a:pt x="199925" y="0"/>
                    </a:lnTo>
                    <a:lnTo>
                      <a:pt x="398899" y="198974"/>
                    </a:lnTo>
                    <a:lnTo>
                      <a:pt x="319024" y="278849"/>
                    </a:lnTo>
                    <a:lnTo>
                      <a:pt x="199925" y="159750"/>
                    </a:lnTo>
                    <a:lnTo>
                      <a:pt x="79875" y="2798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58" name="Freeform: Shape 28">
                <a:extLst>
                  <a:ext uri="{FF2B5EF4-FFF2-40B4-BE49-F238E27FC236}">
                    <a16:creationId xmlns:a16="http://schemas.microsoft.com/office/drawing/2014/main" id="{62029B06-BE1C-FFE3-0764-4ED865676DFF}"/>
                  </a:ext>
                </a:extLst>
              </p:cNvPr>
              <p:cNvSpPr/>
              <p:nvPr/>
            </p:nvSpPr>
            <p:spPr>
              <a:xfrm>
                <a:off x="458835" y="374658"/>
                <a:ext cx="398899" cy="279800"/>
              </a:xfrm>
              <a:custGeom>
                <a:avLst/>
                <a:gdLst>
                  <a:gd name="connsiteX0" fmla="*/ 198974 w 398899"/>
                  <a:gd name="connsiteY0" fmla="*/ 279800 h 279800"/>
                  <a:gd name="connsiteX1" fmla="*/ 0 w 398899"/>
                  <a:gd name="connsiteY1" fmla="*/ 80707 h 279800"/>
                  <a:gd name="connsiteX2" fmla="*/ 79756 w 398899"/>
                  <a:gd name="connsiteY2" fmla="*/ 951 h 279800"/>
                  <a:gd name="connsiteX3" fmla="*/ 198974 w 398899"/>
                  <a:gd name="connsiteY3" fmla="*/ 120050 h 279800"/>
                  <a:gd name="connsiteX4" fmla="*/ 319025 w 398899"/>
                  <a:gd name="connsiteY4" fmla="*/ 0 h 279800"/>
                  <a:gd name="connsiteX5" fmla="*/ 398900 w 398899"/>
                  <a:gd name="connsiteY5" fmla="*/ 79875 h 279800"/>
                  <a:gd name="connsiteX6" fmla="*/ 198974 w 398899"/>
                  <a:gd name="connsiteY6" fmla="*/ 279800 h 27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899" h="279800">
                    <a:moveTo>
                      <a:pt x="198974" y="279800"/>
                    </a:moveTo>
                    <a:lnTo>
                      <a:pt x="0" y="80707"/>
                    </a:lnTo>
                    <a:lnTo>
                      <a:pt x="79756" y="951"/>
                    </a:lnTo>
                    <a:lnTo>
                      <a:pt x="198974" y="120050"/>
                    </a:lnTo>
                    <a:lnTo>
                      <a:pt x="319025" y="0"/>
                    </a:lnTo>
                    <a:lnTo>
                      <a:pt x="398900" y="79875"/>
                    </a:lnTo>
                    <a:lnTo>
                      <a:pt x="198974" y="279800"/>
                    </a:lnTo>
                    <a:close/>
                  </a:path>
                </a:pathLst>
              </a:custGeom>
              <a:solidFill>
                <a:srgbClr val="0D4E96"/>
              </a:solidFill>
              <a:ln w="11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2768006"/>
      </p:ext>
    </p:extLst>
  </p:cSld>
  <p:clrMapOvr>
    <a:masterClrMapping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er with name and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colorful shapes&#10;&#10;Description automatically generated">
            <a:extLst>
              <a:ext uri="{FF2B5EF4-FFF2-40B4-BE49-F238E27FC236}">
                <a16:creationId xmlns:a16="http://schemas.microsoft.com/office/drawing/2014/main" id="{048BDBDB-96A6-C57F-037A-E0708D3EF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50300" cy="5147044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E7EF9D4-F8C7-3B57-BC24-B225FFA7E4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640" y="3297534"/>
            <a:ext cx="4083360" cy="864096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AT" dirty="0"/>
              <a:t>[Click to enter Bio]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0E111E7-2137-E0FB-CE76-52233230E5A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8641" y="1626882"/>
            <a:ext cx="1403747" cy="1350169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AT" dirty="0"/>
              <a:t>Click icon to add photo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E369BEE-A047-C6F0-5AB3-8CBF9F1529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03748" y="1977684"/>
            <a:ext cx="2268252" cy="217711"/>
          </a:xfrm>
        </p:spPr>
        <p:txBody>
          <a:bodyPr/>
          <a:lstStyle>
            <a:lvl1pPr marL="0" indent="0" algn="l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Presenter Name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8B5A4C90-5C70-DB15-7CD9-63A9DF53AC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03748" y="2301966"/>
            <a:ext cx="2268252" cy="396273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72710A7-6B68-2CD0-C5CB-EBD3D55675C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C783B2F-1588-CE3C-8003-307DC6D8F76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5551E1A-3133-33E0-287C-2C17AA2D028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6DBCCAD-2561-9BFF-9D6E-94B57E967A63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254835"/>
      </p:ext>
    </p:extLst>
  </p:cSld>
  <p:clrMapOvr>
    <a:masterClrMapping/>
  </p:clrMapOvr>
  <p:hf sldNum="0"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EA15259-16F3-03F5-E800-ACF9F52CCED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" name="Picture 1" descr="A blue background with colorful shapes&#10;&#10;Description automatically generated">
            <a:extLst>
              <a:ext uri="{FF2B5EF4-FFF2-40B4-BE49-F238E27FC236}">
                <a16:creationId xmlns:a16="http://schemas.microsoft.com/office/drawing/2014/main" id="{925CE833-8C4B-47F1-0C28-D6EAC4419E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50300" cy="5147044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EEBE6E1-C909-C198-297A-E8FA146CC4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82675" y="1458663"/>
            <a:ext cx="1403747" cy="135016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AT" dirty="0"/>
              <a:t>Click icon to add photo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D8DBC0-635D-48E0-F262-B6D6804AF0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6915" y="2986165"/>
            <a:ext cx="2099182" cy="217711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Presenter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E7EF9D4-F8C7-3B57-BC24-B225FFA7E4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6915" y="3310447"/>
            <a:ext cx="2099182" cy="396273"/>
          </a:xfrm>
        </p:spPr>
        <p:txBody>
          <a:bodyPr/>
          <a:lstStyle>
            <a:lvl1pPr marL="0" indent="0" algn="ctr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0E111E7-2137-E0FB-CE76-52233230E5A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2639" y="1458663"/>
            <a:ext cx="1403747" cy="1350169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AT" dirty="0"/>
              <a:t>Click icon to add photo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E369BEE-A047-C6F0-5AB3-8CBF9F1529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879" y="2986165"/>
            <a:ext cx="2099182" cy="217711"/>
          </a:xfrm>
        </p:spPr>
        <p:txBody>
          <a:bodyPr/>
          <a:lstStyle>
            <a:lvl1pPr marL="0" indent="0" algn="ctr">
              <a:buNone/>
              <a:defRPr sz="1050" b="1">
                <a:solidFill>
                  <a:srgbClr val="FF6C0E"/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Presenter Name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8B5A4C90-5C70-DB15-7CD9-63A9DF53AC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879" y="3310447"/>
            <a:ext cx="2099182" cy="396273"/>
          </a:xfrm>
        </p:spPr>
        <p:txBody>
          <a:bodyPr/>
          <a:lstStyle>
            <a:lvl1pPr marL="0" indent="0" algn="ctr">
              <a:buNone/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81F83F-8889-5038-3F37-FE91978D718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A8EC462-6678-EA5F-9517-23B704E105D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1D61B38-726C-2511-7768-D1FAE961FDA5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88463"/>
      </p:ext>
    </p:extLst>
  </p:cSld>
  <p:clrMapOvr>
    <a:masterClrMapping/>
  </p:clrMapOvr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EA679-B921-4324-97D5-866B1C618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4FFAE-AE6E-4CC7-A871-B88CA6A8E5CB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DF305D-E2CC-8376-34AC-38CDB2E92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69CFCC9-DF7B-08A1-A922-24EB3D5B5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50F9B2-C4E1-2378-A98F-C0E125797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826381"/>
      </p:ext>
    </p:extLst>
  </p:cSld>
  <p:clrMapOvr>
    <a:masterClrMapping/>
  </p:clrMapOvr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. Content_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EA679-B921-4324-97D5-866B1C618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4FFAE-AE6E-4CC7-A871-B88CA6A8E5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8" y="1437624"/>
            <a:ext cx="8158162" cy="324747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1B9CAAE-E8C8-4963-0E72-700487AD33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739941"/>
            <a:ext cx="8163836" cy="312872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A82B7E-F0D8-B8E6-AFB2-5E690FCECD4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76D849-6158-BCBA-FEF3-8E06E4F27A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835B04-D957-9C7B-09FC-FD5FDC326B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505859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dle Left Title -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75" y="1959465"/>
            <a:ext cx="3943350" cy="612285"/>
          </a:xfrm>
        </p:spPr>
        <p:txBody>
          <a:bodyPr rIns="0" anchor="b"/>
          <a:lstStyle>
            <a:lvl1pPr algn="l">
              <a:lnSpc>
                <a:spcPts val="2850"/>
              </a:lnSpc>
              <a:defRPr b="1" i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075" y="2571750"/>
            <a:ext cx="3210049" cy="612285"/>
          </a:xfrm>
        </p:spPr>
        <p:txBody>
          <a:bodyPr rIns="0" anchor="t">
            <a:no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BD2786-0B84-5646-AC59-B4CC08BAF37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00576" y="908463"/>
            <a:ext cx="3914774" cy="3749263"/>
          </a:xfrm>
        </p:spPr>
        <p:txBody>
          <a:bodyPr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481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1248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_and Categor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EA679-B921-4324-97D5-866B1C618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7" y="364976"/>
            <a:ext cx="8158163" cy="53586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4FFAE-AE6E-4CC7-A871-B88CA6A8E5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8" y="1437624"/>
            <a:ext cx="8158162" cy="324747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68A90A-57BA-C69C-BBB3-125B9C7A6D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210829"/>
            <a:ext cx="6404910" cy="146360"/>
          </a:xfrm>
        </p:spPr>
        <p:txBody>
          <a:bodyPr/>
          <a:lstStyle>
            <a:lvl1pPr marL="0" indent="0">
              <a:buNone/>
              <a:defRPr sz="900" b="0" i="0">
                <a:solidFill>
                  <a:schemeClr val="accent4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6E9363-02BC-5CA1-3D2B-E2595B0C6A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89F617-7325-C837-5137-A098F52B7D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42AC12-BCE7-7F8E-0D6E-BA2720FF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390481"/>
      </p:ext>
    </p:extLst>
  </p:cSld>
  <p:clrMapOvr>
    <a:masterClrMapping/>
  </p:clrMapOvr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. Content_and Cat. header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BB30ED3-6652-1B32-E73A-42EE0978A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480"/>
            <a:ext cx="4572000" cy="2517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BEA679-B921-4324-97D5-866B1C618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7" y="364976"/>
            <a:ext cx="8158163" cy="53586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4FFAE-AE6E-4CC7-A871-B88CA6A8E5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8" y="1437624"/>
            <a:ext cx="8158162" cy="324747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68A90A-57BA-C69C-BBB3-125B9C7A6D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210829"/>
            <a:ext cx="3812622" cy="14636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C3550CD-C47E-BBB7-2C1D-C698F0B5C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197D51F-9E52-1C6D-6311-62642A4166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4BA3AB7-7C48-7504-80FF-6D761FBAEC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639425"/>
      </p:ext>
    </p:extLst>
  </p:cSld>
  <p:clrMapOvr>
    <a:masterClrMapping/>
  </p:clrMapOvr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background with colorful shapes&#10;&#10;Description automatically generated">
            <a:extLst>
              <a:ext uri="{FF2B5EF4-FFF2-40B4-BE49-F238E27FC236}">
                <a16:creationId xmlns:a16="http://schemas.microsoft.com/office/drawing/2014/main" id="{7B6F59A6-0EC0-4A8F-F24B-76280E0178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7600" cy="514552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EDDC997-B4BA-2053-97C6-E7712197F7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034" y="1638444"/>
            <a:ext cx="5484803" cy="1275829"/>
          </a:xfrm>
        </p:spPr>
        <p:txBody>
          <a:bodyPr anchor="b">
            <a:no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Insert title here]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0D1C473-F3B2-E875-83CF-1D4BAA335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348" y="3183599"/>
            <a:ext cx="5471837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[Insert subtitle here]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07B8A3D-8698-BA3D-7FF7-C85369779A35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096115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colorful shapes&#10;&#10;Description automatically generated">
            <a:extLst>
              <a:ext uri="{FF2B5EF4-FFF2-40B4-BE49-F238E27FC236}">
                <a16:creationId xmlns:a16="http://schemas.microsoft.com/office/drawing/2014/main" id="{400C2A43-73A9-F131-FCC6-E47804D8B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7600" cy="514552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EDDC997-B4BA-2053-97C6-E7712197F7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09" y="1632020"/>
            <a:ext cx="5484803" cy="1275829"/>
          </a:xfrm>
        </p:spPr>
        <p:txBody>
          <a:bodyPr anchor="b">
            <a:no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Insert title here]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0D1C473-F3B2-E875-83CF-1D4BAA335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348" y="3790475"/>
            <a:ext cx="5471837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[Insert subtitle here]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3B49586-C75B-AAAF-24F7-8F0FE897D5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4478" y="3057804"/>
            <a:ext cx="5489934" cy="594067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AAAB2F-BFCB-162A-A460-61E0078FE0C8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843403"/>
      </p:ext>
    </p:extLst>
  </p:cSld>
  <p:clrMapOvr>
    <a:masterClrMapping/>
  </p:clrMapOvr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9607-5688-4616-9516-C2D88F6FE37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9348" y="971550"/>
            <a:ext cx="4010170" cy="371440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2904" y="971605"/>
            <a:ext cx="4011930" cy="371350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D89808B-6466-4D38-9F1A-2C5849310A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88CA97-179A-D1B3-E64C-B378CBF2F2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3E3B7FC-CE14-E25A-349D-E75245937C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8532C16-9132-5D2E-DF1F-E5104D875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4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_and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9607-5688-4616-9516-C2D88F6FE37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9348" y="1425740"/>
            <a:ext cx="4010170" cy="326021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2904" y="1425685"/>
            <a:ext cx="4011930" cy="325942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D89808B-6466-4D38-9F1A-2C5849310A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25BED2F-F1EC-E69F-B588-A4946A6D4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739941"/>
            <a:ext cx="8163836" cy="312872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A958522-AAD9-6DC7-6002-2F23ECDD3A1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D973F9B-6AFC-30A0-5BB5-A2BEAD6C82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0DB5125-AF6B-4533-61DB-64DF27E29F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12383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_and Categor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9607-5688-4616-9516-C2D88F6FE37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9348" y="1425740"/>
            <a:ext cx="4010170" cy="326021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2904" y="1425685"/>
            <a:ext cx="4011930" cy="325942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D89808B-6466-4D38-9F1A-2C5849310A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7" y="368494"/>
            <a:ext cx="8158163" cy="535868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17E3B8-0560-8FF0-9ED4-8B932238B0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210829"/>
            <a:ext cx="6404910" cy="146360"/>
          </a:xfrm>
        </p:spPr>
        <p:txBody>
          <a:bodyPr/>
          <a:lstStyle>
            <a:lvl1pPr marL="0" indent="0">
              <a:buNone/>
              <a:defRPr sz="900" b="0" i="0">
                <a:solidFill>
                  <a:schemeClr val="accent4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28E402-181D-F005-5F1B-3F044DA8B4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3405E2-F31E-217B-F6A8-D399624870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C6DA9CA-BAD2-A049-595F-A0FDC220D5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49444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_and Categor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9607-5688-4616-9516-C2D88F6FE37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9348" y="1425740"/>
            <a:ext cx="4010170" cy="326021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2904" y="1425685"/>
            <a:ext cx="4011930" cy="325942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D89808B-6466-4D38-9F1A-2C5849310A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7" y="368494"/>
            <a:ext cx="8158163" cy="535868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17E3B8-0560-8FF0-9ED4-8B932238B0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9348" y="210829"/>
            <a:ext cx="6404910" cy="146360"/>
          </a:xfrm>
        </p:spPr>
        <p:txBody>
          <a:bodyPr/>
          <a:lstStyle>
            <a:lvl1pPr marL="0" indent="0">
              <a:buNone/>
              <a:defRPr sz="900" b="0" i="0">
                <a:solidFill>
                  <a:schemeClr val="accent4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770337-506F-5031-B3C8-DF9776BD99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D3BD8B5-587D-E4BC-01CC-C07C07EA2A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AD1342-3A38-7E46-DC34-87B1340FED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1260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ackground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background with a triangle&#10;&#10;Description automatically generated">
            <a:extLst>
              <a:ext uri="{FF2B5EF4-FFF2-40B4-BE49-F238E27FC236}">
                <a16:creationId xmlns:a16="http://schemas.microsoft.com/office/drawing/2014/main" id="{7E74C53D-4B6E-7FD9-2A44-7DECAFB5AC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"/>
          <a:stretch/>
        </p:blipFill>
        <p:spPr>
          <a:xfrm>
            <a:off x="0" y="0"/>
            <a:ext cx="4356233" cy="4881001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E9EF79-3999-486B-B9DA-D5A02C8399B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2904" y="1425685"/>
            <a:ext cx="4011930" cy="325942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520F5C6-F7D9-74F1-9E44-78834DD32A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46" y="1828800"/>
            <a:ext cx="3511154" cy="2851667"/>
          </a:xfrm>
          <a:ln>
            <a:noFill/>
          </a:ln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bg1"/>
                </a:solidFill>
                <a:latin typeface="+mj-lt"/>
              </a:defRPr>
            </a:lvl2pPr>
            <a:lvl3pPr>
              <a:defRPr sz="1350">
                <a:solidFill>
                  <a:schemeClr val="bg1"/>
                </a:solidFill>
                <a:latin typeface="+mj-lt"/>
              </a:defRPr>
            </a:lvl3pPr>
            <a:lvl4pPr>
              <a:defRPr sz="1200">
                <a:solidFill>
                  <a:schemeClr val="bg1"/>
                </a:solidFill>
                <a:latin typeface="+mj-lt"/>
              </a:defRPr>
            </a:lvl4pPr>
            <a:lvl5pPr>
              <a:defRPr sz="105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8B8ACD8-BF7A-3BB5-BFFB-3AE32D435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1" y="679114"/>
            <a:ext cx="3511151" cy="635742"/>
          </a:xfrm>
          <a:ln>
            <a:noFill/>
          </a:ln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395339-B865-C095-5899-48BED8BCBBE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815153-51C6-AA3A-D8DB-230995CF84A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43BFC80-383F-2C64-931F-FB839E3E40A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88403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ackground_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a triangle&#10;&#10;Description automatically generated">
            <a:extLst>
              <a:ext uri="{FF2B5EF4-FFF2-40B4-BE49-F238E27FC236}">
                <a16:creationId xmlns:a16="http://schemas.microsoft.com/office/drawing/2014/main" id="{A44F0F8B-0168-3361-B136-0EBF8920CC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"/>
          <a:stretch/>
        </p:blipFill>
        <p:spPr>
          <a:xfrm>
            <a:off x="0" y="0"/>
            <a:ext cx="4356233" cy="4881001"/>
          </a:xfrm>
          <a:prstGeom prst="rect">
            <a:avLst/>
          </a:prstGeom>
        </p:spPr>
      </p:pic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17D2B185-3465-A845-BDCB-56B9CD3C42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46" y="1828800"/>
            <a:ext cx="3511154" cy="2851667"/>
          </a:xfrm>
          <a:ln>
            <a:noFill/>
          </a:ln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bg1"/>
                </a:solidFill>
                <a:latin typeface="+mj-lt"/>
              </a:defRPr>
            </a:lvl2pPr>
            <a:lvl3pPr>
              <a:defRPr sz="1350">
                <a:solidFill>
                  <a:schemeClr val="bg1"/>
                </a:solidFill>
                <a:latin typeface="+mj-lt"/>
              </a:defRPr>
            </a:lvl3pPr>
            <a:lvl4pPr>
              <a:defRPr sz="1200">
                <a:solidFill>
                  <a:schemeClr val="bg1"/>
                </a:solidFill>
                <a:latin typeface="+mj-lt"/>
              </a:defRPr>
            </a:lvl4pPr>
            <a:lvl5pPr>
              <a:defRPr sz="105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0EB1A-F962-43F1-A1AF-FF2B30BF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1" y="679114"/>
            <a:ext cx="3511151" cy="635742"/>
          </a:xfrm>
          <a:ln>
            <a:noFill/>
          </a:ln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FA15F4D-C867-3511-0752-F2818B9A50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51876" y="971550"/>
            <a:ext cx="3810000" cy="316633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AT" dirty="0"/>
              <a:t>[C</a:t>
            </a:r>
            <a:r>
              <a:rPr lang="en-GB" dirty="0"/>
              <a:t>l</a:t>
            </a:r>
            <a:r>
              <a:rPr lang="en-AT" dirty="0"/>
              <a:t>ick icon to add imag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818FE-1D1F-1E7D-399C-F38BC443E65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D58A356-40E3-D3F9-44D2-28B5E5BD68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5CD36CC-6198-E49A-6CFD-AAC459A1C10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006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779">
          <p15:clr>
            <a:srgbClr val="FBAE40"/>
          </p15:clr>
        </p15:guide>
        <p15:guide id="2" pos="389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verte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E0131-19B0-074C-A0E4-386BC66C9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66058"/>
            <a:ext cx="7886700" cy="40549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559AF1-884F-0F42-A92F-219CB123A4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334021"/>
            <a:ext cx="7886700" cy="232037"/>
          </a:xfrm>
        </p:spPr>
        <p:txBody>
          <a:bodyPr>
            <a:no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858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287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371600" indent="0">
              <a:buNone/>
              <a:defRPr b="0" i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BD2786-0B84-5646-AC59-B4CC08BAF37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8650" y="1057275"/>
            <a:ext cx="7886700" cy="3601641"/>
          </a:xfrm>
        </p:spPr>
        <p:txBody>
          <a:bodyPr rIns="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9267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888">
          <p15:clr>
            <a:srgbClr val="FBAE40"/>
          </p15:clr>
        </p15:guide>
        <p15:guide id="2" orient="horz" pos="1152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207226BF-68DB-4968-9A5F-34BB3DADA2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A8063C-7A11-4535-8FA1-2D81C58A0A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9347" y="971550"/>
            <a:ext cx="2612898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6BB947E-0A0E-429F-A7E3-CA05D4EC1AC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65551" y="971550"/>
            <a:ext cx="2612898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36C9D73-3B53-4757-8E5D-A4CC768E6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34612" y="971550"/>
            <a:ext cx="2612898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452993-C6E6-EB9C-5C8C-1C6EC5FF001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259E07-656B-242A-D6D7-710D4B8E284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ACB11A-1DEB-DE15-DE81-08CE7ECEE6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1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8">
          <p15:clr>
            <a:srgbClr val="FBAE40"/>
          </p15:clr>
        </p15:guide>
        <p15:guide id="2" pos="4937">
          <p15:clr>
            <a:srgbClr val="FBAE40"/>
          </p15:clr>
        </p15:guide>
        <p15:guide id="3" pos="5070">
          <p15:clr>
            <a:srgbClr val="FBAE40"/>
          </p15:clr>
        </p15:guide>
        <p15:guide id="4" pos="274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hirds /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E4A3EE-B55E-4F19-9274-53585DFCB81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9347" y="971550"/>
            <a:ext cx="5390134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4612" y="971513"/>
            <a:ext cx="2612898" cy="371415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07CF23-8226-B7C1-CA4D-64CCF3C1AB0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E4CAF3-48DC-6896-5C46-D3C3B275F7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647C2D4-F617-D3E0-1258-58F834AF53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97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4938">
          <p15:clr>
            <a:srgbClr val="FBAE40"/>
          </p15:clr>
        </p15:guide>
        <p15:guide id="2" pos="5063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hird /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E4A3EE-B55E-4F19-9274-53585DFCB81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9347" y="971587"/>
            <a:ext cx="2615097" cy="371296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7551" y="971550"/>
            <a:ext cx="5394722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29736F2-218D-1640-EDCE-0DD118F972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438311-B7F6-11F2-BC56-D24FA7CCD2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7079F0-B3AA-8F07-004A-0D0D061E8A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1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7">
          <p15:clr>
            <a:srgbClr val="FBAE40"/>
          </p15:clr>
        </p15:guide>
        <p15:guide id="2" pos="2733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CDBA6-06C3-4826-B064-BD9DE5C3EB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E6E3ED-07DA-441B-829A-B7763032645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7551" y="971550"/>
            <a:ext cx="5394722" cy="37135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826942A-CD52-45AB-BD2A-DBEE06603BA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9347" y="971550"/>
            <a:ext cx="2614613" cy="709613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350"/>
            </a:lvl1pPr>
          </a:lstStyle>
          <a:p>
            <a:r>
              <a:rPr lang="en-US" dirty="0"/>
              <a:t>Insert logo here (remove placeholder and place logo manually if needed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9EA4789-3E51-4DF8-8A2E-5BFC9BF416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347" y="2057400"/>
            <a:ext cx="2614613" cy="262771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BAE858C-3B1F-9225-D71A-C6BD6AF238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34B7A3-9B9A-C693-959E-576504EB9B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22B25A-0F2B-AB7C-586F-393D1E367A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47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607">
          <p15:clr>
            <a:srgbClr val="FBAE40"/>
          </p15:clr>
        </p15:guide>
        <p15:guide id="2" pos="2733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orient="horz" pos="151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ack background with blue and orange shapes&#10;&#10;Description automatically generated">
            <a:extLst>
              <a:ext uri="{FF2B5EF4-FFF2-40B4-BE49-F238E27FC236}">
                <a16:creationId xmlns:a16="http://schemas.microsoft.com/office/drawing/2014/main" id="{F9CA14FF-963C-A66A-C548-141E368C7C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7600" cy="51455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5AFA45-B9BF-4380-84CD-DFA217CB98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348" y="206899"/>
            <a:ext cx="5454253" cy="536051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dirty="0" err="1"/>
              <a:t>TOC_Click</a:t>
            </a:r>
            <a:r>
              <a:rPr lang="en-GB" dirty="0"/>
              <a:t>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B79197-F6AF-4224-A0F2-CBBD94843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971550"/>
            <a:ext cx="5454253" cy="371356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14350" indent="-342900">
              <a:buFont typeface="+mj-lt"/>
              <a:buAutoNum type="arabicPeriod"/>
              <a:defRPr/>
            </a:lvl2pPr>
            <a:lvl3pPr marL="600075" indent="-257175">
              <a:buFont typeface="+mj-lt"/>
              <a:buAutoNum type="arabicPeriod"/>
              <a:defRPr/>
            </a:lvl3pPr>
            <a:lvl4pPr marL="771525" indent="-257175">
              <a:buFont typeface="+mj-lt"/>
              <a:buAutoNum type="arabicPeriod"/>
              <a:defRPr/>
            </a:lvl4pPr>
            <a:lvl5pPr marL="942975" indent="-257175"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49FC1D8-5C23-BAF8-D417-ACA1D601701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94C9C3-A246-F224-AF57-43009A81E1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A9616DF-6FB7-7E0C-4738-D529080638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9F693C0-9FC7-F418-695B-3F56D01429C3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92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C7CC3D-4C46-4591-A1A8-76BE4DEA28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9144000" cy="4881002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Click icon to insert imag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19B01-1931-459E-A1BC-29BC08696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5676" y="1545636"/>
            <a:ext cx="5832649" cy="1352736"/>
          </a:xfrm>
        </p:spPr>
        <p:txBody>
          <a:bodyPr anchor="t" anchorCtr="0"/>
          <a:lstStyle>
            <a:lvl1pPr algn="ctr">
              <a:defRPr/>
            </a:lvl1pPr>
          </a:lstStyle>
          <a:p>
            <a:r>
              <a:rPr lang="en-US" dirty="0"/>
              <a:t>[Insert title and change font color </a:t>
            </a:r>
            <a:br>
              <a:rPr lang="en-US" dirty="0"/>
            </a:br>
            <a:r>
              <a:rPr lang="en-US" dirty="0"/>
              <a:t>to white as needed]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ACDB7BA-3896-E1C0-73D9-80938C4AFF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41BD45-20E9-2492-AF01-6073B02501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6B20E5-C529-4DEC-AF83-045F7FCD32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273267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Quote ma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C7CC3D-4C46-4591-A1A8-76BE4DEA28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9144000" cy="5143501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Click icon to insert image]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313DBE0-8AB3-9B71-C7A1-B6D2B82689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5676" y="1705068"/>
            <a:ext cx="5832649" cy="1352736"/>
          </a:xfrm>
        </p:spPr>
        <p:txBody>
          <a:bodyPr anchor="t" anchorCtr="0"/>
          <a:lstStyle>
            <a:lvl1pPr algn="ctr">
              <a:defRPr/>
            </a:lvl1pPr>
          </a:lstStyle>
          <a:p>
            <a:r>
              <a:rPr lang="en-US" dirty="0"/>
              <a:t>[Insert title and change font color </a:t>
            </a:r>
            <a:br>
              <a:rPr lang="en-US" dirty="0"/>
            </a:br>
            <a:r>
              <a:rPr lang="en-US" dirty="0"/>
              <a:t>to white as needed]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6295D1A-D358-D966-5F96-29EFCA3B76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8700" y="777479"/>
            <a:ext cx="900113" cy="559594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A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6749535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_Qu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F28152-7668-B04A-443A-A496142120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4870800"/>
          </a:xfrm>
          <a:custGeom>
            <a:avLst/>
            <a:gdLst>
              <a:gd name="connsiteX0" fmla="*/ 1067723 w 6096000"/>
              <a:gd name="connsiteY0" fmla="*/ 0 h 6508002"/>
              <a:gd name="connsiteX1" fmla="*/ 6096000 w 6096000"/>
              <a:gd name="connsiteY1" fmla="*/ 0 h 6508002"/>
              <a:gd name="connsiteX2" fmla="*/ 6096000 w 6096000"/>
              <a:gd name="connsiteY2" fmla="*/ 6508002 h 6508002"/>
              <a:gd name="connsiteX3" fmla="*/ 0 w 6096000"/>
              <a:gd name="connsiteY3" fmla="*/ 6508002 h 6508002"/>
              <a:gd name="connsiteX4" fmla="*/ 0 w 6096000"/>
              <a:gd name="connsiteY4" fmla="*/ 1068875 h 6508002"/>
              <a:gd name="connsiteX5" fmla="*/ 15997 w 6096000"/>
              <a:gd name="connsiteY5" fmla="*/ 1069683 h 6508002"/>
              <a:gd name="connsiteX6" fmla="*/ 1068586 w 6096000"/>
              <a:gd name="connsiteY6" fmla="*/ 17094 h 650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508002">
                <a:moveTo>
                  <a:pt x="1067723" y="0"/>
                </a:moveTo>
                <a:lnTo>
                  <a:pt x="6096000" y="0"/>
                </a:lnTo>
                <a:lnTo>
                  <a:pt x="6096000" y="6508002"/>
                </a:lnTo>
                <a:lnTo>
                  <a:pt x="0" y="6508002"/>
                </a:lnTo>
                <a:lnTo>
                  <a:pt x="0" y="1068875"/>
                </a:lnTo>
                <a:lnTo>
                  <a:pt x="15997" y="1069683"/>
                </a:lnTo>
                <a:cubicBezTo>
                  <a:pt x="597326" y="1069683"/>
                  <a:pt x="1068586" y="598423"/>
                  <a:pt x="1068586" y="17094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Click icon to insert imag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19B01-1931-459E-A1BC-29BC08696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090" y="1437624"/>
            <a:ext cx="3209698" cy="2095228"/>
          </a:xfrm>
        </p:spPr>
        <p:txBody>
          <a:bodyPr anchor="t" anchorCtr="0">
            <a:normAutofit/>
          </a:bodyPr>
          <a:lstStyle>
            <a:lvl1pPr>
              <a:defRPr sz="1800" b="1" i="1"/>
            </a:lvl1pPr>
          </a:lstStyle>
          <a:p>
            <a:r>
              <a:rPr lang="en-US" dirty="0"/>
              <a:t>Add quo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03EE31-32CD-250A-198C-9E51CF435A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348" y="861654"/>
            <a:ext cx="450896" cy="311972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ED721255-691E-1D9A-97F4-2E448916C9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9347" y="4104947"/>
            <a:ext cx="2877741" cy="203960"/>
          </a:xfrm>
        </p:spPr>
        <p:txBody>
          <a:bodyPr/>
          <a:lstStyle>
            <a:lvl1pPr marL="0" indent="0">
              <a:buNone/>
              <a:defRPr sz="105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4F8C3DC-4985-4FBA-8FC1-462598E50B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9347" y="3853597"/>
            <a:ext cx="2877741" cy="203960"/>
          </a:xfrm>
        </p:spPr>
        <p:txBody>
          <a:bodyPr/>
          <a:lstStyle>
            <a:lvl1pPr marL="0" indent="0">
              <a:buNone/>
              <a:defRPr sz="1200" b="1"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pic>
        <p:nvPicPr>
          <p:cNvPr id="22" name="Picture 2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801C3845-FA58-3E18-2241-5D139B1575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34" b="18831"/>
          <a:stretch/>
        </p:blipFill>
        <p:spPr>
          <a:xfrm>
            <a:off x="3276481" y="3853598"/>
            <a:ext cx="1295520" cy="10274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43D403-88AC-BC93-6500-03F70C7DF3E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8000"/>
          </a:blip>
          <a:stretch>
            <a:fillRect/>
          </a:stretch>
        </p:blipFill>
        <p:spPr>
          <a:xfrm>
            <a:off x="3770561" y="0"/>
            <a:ext cx="1602878" cy="803058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FE1B0C-2EA4-7102-4B1F-03FBF2CC3A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4C72A00-4AE2-2E88-7A9E-ECE62815976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B4C0D4-1111-A338-CF80-37A8C482F52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027442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_Quote and Imag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F28152-7668-B04A-443A-A496142120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4870800"/>
          </a:xfrm>
          <a:custGeom>
            <a:avLst/>
            <a:gdLst>
              <a:gd name="connsiteX0" fmla="*/ 1067723 w 6096000"/>
              <a:gd name="connsiteY0" fmla="*/ 0 h 6508002"/>
              <a:gd name="connsiteX1" fmla="*/ 6096000 w 6096000"/>
              <a:gd name="connsiteY1" fmla="*/ 0 h 6508002"/>
              <a:gd name="connsiteX2" fmla="*/ 6096000 w 6096000"/>
              <a:gd name="connsiteY2" fmla="*/ 6508002 h 6508002"/>
              <a:gd name="connsiteX3" fmla="*/ 0 w 6096000"/>
              <a:gd name="connsiteY3" fmla="*/ 6508002 h 6508002"/>
              <a:gd name="connsiteX4" fmla="*/ 0 w 6096000"/>
              <a:gd name="connsiteY4" fmla="*/ 1068875 h 6508002"/>
              <a:gd name="connsiteX5" fmla="*/ 15997 w 6096000"/>
              <a:gd name="connsiteY5" fmla="*/ 1069683 h 6508002"/>
              <a:gd name="connsiteX6" fmla="*/ 1068586 w 6096000"/>
              <a:gd name="connsiteY6" fmla="*/ 17094 h 650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508002">
                <a:moveTo>
                  <a:pt x="1067723" y="0"/>
                </a:moveTo>
                <a:lnTo>
                  <a:pt x="6096000" y="0"/>
                </a:lnTo>
                <a:lnTo>
                  <a:pt x="6096000" y="6508002"/>
                </a:lnTo>
                <a:lnTo>
                  <a:pt x="0" y="6508002"/>
                </a:lnTo>
                <a:lnTo>
                  <a:pt x="0" y="1068875"/>
                </a:lnTo>
                <a:lnTo>
                  <a:pt x="15997" y="1069683"/>
                </a:lnTo>
                <a:cubicBezTo>
                  <a:pt x="597326" y="1069683"/>
                  <a:pt x="1068586" y="598423"/>
                  <a:pt x="1068586" y="17094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[Click icon to insert imag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19B01-1931-459E-A1BC-29BC08696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331" y="1775667"/>
            <a:ext cx="3209698" cy="2092200"/>
          </a:xfrm>
        </p:spPr>
        <p:txBody>
          <a:bodyPr anchor="t" anchorCtr="0">
            <a:normAutofit/>
          </a:bodyPr>
          <a:lstStyle>
            <a:lvl1pPr>
              <a:defRPr sz="1800" b="1" i="1"/>
            </a:lvl1pPr>
          </a:lstStyle>
          <a:p>
            <a:r>
              <a:rPr lang="en-US" dirty="0"/>
              <a:t>Add quote her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4F8C3DC-4985-4FBA-8FC1-462598E50B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010" y="4189275"/>
            <a:ext cx="2877741" cy="203960"/>
          </a:xfrm>
        </p:spPr>
        <p:txBody>
          <a:bodyPr/>
          <a:lstStyle>
            <a:lvl1pPr marL="0" indent="0">
              <a:buNone/>
              <a:defRPr sz="1200" b="1"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pic>
        <p:nvPicPr>
          <p:cNvPr id="22" name="Picture 2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801C3845-FA58-3E18-2241-5D139B1575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34" b="18831"/>
          <a:stretch/>
        </p:blipFill>
        <p:spPr>
          <a:xfrm>
            <a:off x="3276481" y="3853598"/>
            <a:ext cx="1295520" cy="10274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43D403-88AC-BC93-6500-03F70C7DF3E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8000"/>
          </a:blip>
          <a:stretch>
            <a:fillRect/>
          </a:stretch>
        </p:blipFill>
        <p:spPr>
          <a:xfrm>
            <a:off x="3770561" y="0"/>
            <a:ext cx="1602878" cy="803058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C5A31C5-7B88-B973-2E16-BDDEDD5AFB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12621" y="681540"/>
            <a:ext cx="1498408" cy="578215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r>
              <a:rPr lang="en-GB" dirty="0"/>
              <a:t>[click icon to I</a:t>
            </a:r>
            <a:r>
              <a:rPr lang="en-AT" dirty="0"/>
              <a:t>nsert logo]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5B428A8-3C7E-C156-CAB6-7A0F8F68DC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9347" y="4440190"/>
            <a:ext cx="2877741" cy="203960"/>
          </a:xfrm>
        </p:spPr>
        <p:txBody>
          <a:bodyPr/>
          <a:lstStyle>
            <a:lvl1pPr marL="0" indent="0">
              <a:buNone/>
              <a:defRPr sz="105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11E3DA-EE82-8AA4-94DF-5A6DE891DC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425" y="1179658"/>
            <a:ext cx="450896" cy="311972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D65F17BC-1D81-1C0F-1EF3-AAF2C77543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9910E44-EAAD-4AF7-EE55-134FF2FFB25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DF59557-F7ED-E78D-631F-EFB88C14CB1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781332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 _pictur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F6F6AB-427F-3BE4-1714-40CA347A4856}"/>
              </a:ext>
            </a:extLst>
          </p:cNvPr>
          <p:cNvSpPr/>
          <p:nvPr/>
        </p:nvSpPr>
        <p:spPr>
          <a:xfrm>
            <a:off x="0" y="0"/>
            <a:ext cx="91476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11" name="Picture 10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EC465B59-8915-C80D-01C1-0185EB8166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2761"/>
          <a:stretch/>
        </p:blipFill>
        <p:spPr>
          <a:xfrm>
            <a:off x="5130241" y="3886122"/>
            <a:ext cx="2412089" cy="1268199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1E5D8CD-E616-F947-6C1E-64989E486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4047" y="1715703"/>
            <a:ext cx="4104456" cy="1890211"/>
          </a:xfrm>
        </p:spPr>
        <p:txBody>
          <a:bodyPr anchor="t" anchorCtr="0">
            <a:normAutofit/>
          </a:bodyPr>
          <a:lstStyle>
            <a:lvl1pPr>
              <a:defRPr sz="1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T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C93387E-B99C-B738-2D53-1E8CE3495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4586" y="1"/>
            <a:ext cx="1709366" cy="656120"/>
          </a:xfrm>
          <a:prstGeom prst="rect">
            <a:avLst/>
          </a:prstGeom>
        </p:spPr>
      </p:pic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BF29364-276D-C2C6-A0D2-480E8100D8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14047" y="4113394"/>
            <a:ext cx="4104456" cy="203960"/>
          </a:xfrm>
        </p:spPr>
        <p:txBody>
          <a:bodyPr/>
          <a:lstStyle>
            <a:lvl1pPr marL="0" indent="0">
              <a:buNone/>
              <a:defRPr sz="1050">
                <a:solidFill>
                  <a:schemeClr val="bg1">
                    <a:lumMod val="8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03C3D1-5049-33E6-E3D7-F11B057B0B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14047" y="3862045"/>
            <a:ext cx="4104456" cy="20396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FA3856-D666-7786-21A5-BC2C7C885F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574" y="1059582"/>
            <a:ext cx="676473" cy="468046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10AC495E-C867-EF3E-32E7-894933153E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63815" y="2993823"/>
            <a:ext cx="1709366" cy="604041"/>
          </a:xfrm>
        </p:spPr>
        <p:txBody>
          <a:bodyPr anchor="t" anchorCtr="1"/>
          <a:lstStyle>
            <a:lvl1pPr marL="0" indent="0"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AT" dirty="0"/>
              <a:t>[click to add logo]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38DFB4F-E562-C512-50AC-63CE47CBD8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45029" y="52375"/>
            <a:ext cx="1916873" cy="3833747"/>
          </a:xfrm>
          <a:prstGeom prst="rect">
            <a:avLst/>
          </a:prstGeom>
        </p:spPr>
      </p:pic>
      <p:sp>
        <p:nvSpPr>
          <p:cNvPr id="9" name="Picture Placeholder 14" descr="Click to add picture">
            <a:extLst>
              <a:ext uri="{FF2B5EF4-FFF2-40B4-BE49-F238E27FC236}">
                <a16:creationId xmlns:a16="http://schemas.microsoft.com/office/drawing/2014/main" id="{681FA322-3930-2951-5A9F-CAC7F6F6F9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63815" y="1002772"/>
            <a:ext cx="1709366" cy="1709365"/>
          </a:xfrm>
          <a:prstGeom prst="ellipse">
            <a:avLst/>
          </a:prstGeom>
        </p:spPr>
        <p:txBody>
          <a:bodyPr anchor="t" anchorCtr="1"/>
          <a:lstStyle>
            <a:lvl1pPr marL="0" indent="0" algn="ctr">
              <a:buNone/>
              <a:defRPr sz="1050">
                <a:solidFill>
                  <a:schemeClr val="bg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[click icon to </a:t>
            </a:r>
            <a:r>
              <a:rPr lang="en-GB" dirty="0" err="1"/>
              <a:t>i</a:t>
            </a:r>
            <a:r>
              <a:rPr lang="en-AT" dirty="0"/>
              <a:t>nsert photo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8F0E00-B418-8A21-ED9B-892B4C9ECCFE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B5C777B6-49DB-0D0A-DB57-EA10119257A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0E6D1F4-4E58-5D14-209F-5B7B6CA074E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B0C35B4-5633-EEEE-1F93-1E41245F4AF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565370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BD2786-0B84-5646-AC59-B4CC08BAF37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8650" y="428625"/>
            <a:ext cx="7886700" cy="4230291"/>
          </a:xfrm>
        </p:spPr>
        <p:txBody>
          <a:bodyPr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3949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1248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504">
          <p15:clr>
            <a:srgbClr val="FBAE40"/>
          </p15:clr>
        </p15:guide>
        <p15:guide id="5" pos="7152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light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F6F6AB-427F-3BE4-1714-40CA347A4856}"/>
              </a:ext>
            </a:extLst>
          </p:cNvPr>
          <p:cNvSpPr/>
          <p:nvPr/>
        </p:nvSpPr>
        <p:spPr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618A8F-DFD9-C05E-0D84-D2DE94C679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574" y="1059582"/>
            <a:ext cx="676473" cy="46804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1E5D8CD-E616-F947-6C1E-64989E486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9900" y="1707653"/>
            <a:ext cx="4104456" cy="1890211"/>
          </a:xfrm>
        </p:spPr>
        <p:txBody>
          <a:bodyPr anchor="t" anchorCtr="0">
            <a:normAutofit/>
          </a:bodyPr>
          <a:lstStyle>
            <a:lvl1pPr>
              <a:defRPr sz="1800" i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ext</a:t>
            </a:r>
            <a:endParaRPr lang="en-AT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BF29364-276D-C2C6-A0D2-480E8100D8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9900" y="4105345"/>
            <a:ext cx="2877741" cy="203960"/>
          </a:xfrm>
        </p:spPr>
        <p:txBody>
          <a:bodyPr/>
          <a:lstStyle>
            <a:lvl1pPr marL="0" indent="0">
              <a:buNone/>
              <a:defRPr sz="105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03C3D1-5049-33E6-E3D7-F11B057B0B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39900" y="3853996"/>
            <a:ext cx="2877741" cy="20396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7F0C7895-673E-1C2B-9F27-001525BD29F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63815" y="2993823"/>
            <a:ext cx="1709366" cy="604041"/>
          </a:xfrm>
        </p:spPr>
        <p:txBody>
          <a:bodyPr anchor="t" anchorCtr="1"/>
          <a:lstStyle>
            <a:lvl1pPr marL="0" indent="0"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AT" dirty="0"/>
              <a:t>[click to add logo]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F417B53-58AB-37C8-04DB-0B701DB4741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45029" y="52375"/>
            <a:ext cx="1916873" cy="3833747"/>
          </a:xfrm>
          <a:prstGeom prst="rect">
            <a:avLst/>
          </a:prstGeom>
        </p:spPr>
      </p:pic>
      <p:sp>
        <p:nvSpPr>
          <p:cNvPr id="5" name="Picture Placeholder 14" descr="Click to add picture">
            <a:extLst>
              <a:ext uri="{FF2B5EF4-FFF2-40B4-BE49-F238E27FC236}">
                <a16:creationId xmlns:a16="http://schemas.microsoft.com/office/drawing/2014/main" id="{E369B22C-9D18-D25D-CB46-95406CCF2EE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63815" y="1002772"/>
            <a:ext cx="1709366" cy="1709365"/>
          </a:xfrm>
          <a:prstGeom prst="ellipse">
            <a:avLst/>
          </a:prstGeom>
        </p:spPr>
        <p:txBody>
          <a:bodyPr anchor="t" anchorCtr="1"/>
          <a:lstStyle>
            <a:lvl1pPr marL="0" indent="0" algn="ctr">
              <a:buNone/>
              <a:defRPr sz="1050">
                <a:solidFill>
                  <a:schemeClr val="bg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[click icon to </a:t>
            </a:r>
            <a:r>
              <a:rPr lang="en-GB" dirty="0" err="1"/>
              <a:t>i</a:t>
            </a:r>
            <a:r>
              <a:rPr lang="en-AT" dirty="0"/>
              <a:t>nsert photo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BC503C-D652-4ECA-9460-65C5CFE0FC1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97951" y="4929416"/>
            <a:ext cx="379587" cy="156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CAB50B2F-E3D1-FE07-0B17-B7278FA61D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2761"/>
          <a:stretch/>
        </p:blipFill>
        <p:spPr>
          <a:xfrm>
            <a:off x="5130241" y="3886122"/>
            <a:ext cx="2412089" cy="12681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0EA730-4682-8D59-8D2C-B9F35A3FE2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4586" y="1"/>
            <a:ext cx="1709366" cy="65612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D1C147D-D0F4-389A-46A3-30FADD9DAEDC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68456"/>
      </p:ext>
    </p:extLst>
  </p:cSld>
  <p:clrMapOvr>
    <a:masterClrMapping/>
  </p:clrMapOvr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 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F6F6AB-427F-3BE4-1714-40CA347A4856}"/>
              </a:ext>
            </a:extLst>
          </p:cNvPr>
          <p:cNvSpPr/>
          <p:nvPr/>
        </p:nvSpPr>
        <p:spPr>
          <a:xfrm>
            <a:off x="-1800" y="0"/>
            <a:ext cx="91476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4" name="Picture 3" descr="A black background with colorful shapes&#10;&#10;Description automatically generated">
            <a:extLst>
              <a:ext uri="{FF2B5EF4-FFF2-40B4-BE49-F238E27FC236}">
                <a16:creationId xmlns:a16="http://schemas.microsoft.com/office/drawing/2014/main" id="{5AEFA75E-C1D6-02C2-F837-84A1955C3F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0"/>
          <a:stretch/>
        </p:blipFill>
        <p:spPr>
          <a:xfrm>
            <a:off x="489347" y="0"/>
            <a:ext cx="8658253" cy="51455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618A8F-DFD9-C05E-0D84-D2DE94C679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574" y="1059582"/>
            <a:ext cx="676473" cy="46804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1E5D8CD-E616-F947-6C1E-64989E486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9900" y="1707653"/>
            <a:ext cx="4104456" cy="1890211"/>
          </a:xfrm>
        </p:spPr>
        <p:txBody>
          <a:bodyPr anchor="t" anchorCtr="0">
            <a:normAutofit/>
          </a:bodyPr>
          <a:lstStyle>
            <a:lvl1pPr>
              <a:defRPr sz="1800" i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ext</a:t>
            </a:r>
            <a:endParaRPr lang="en-AT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BF29364-276D-C2C6-A0D2-480E8100D8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9900" y="4105345"/>
            <a:ext cx="2877741" cy="203960"/>
          </a:xfrm>
        </p:spPr>
        <p:txBody>
          <a:bodyPr/>
          <a:lstStyle>
            <a:lvl1pPr marL="0" indent="0">
              <a:buNone/>
              <a:defRPr sz="1050">
                <a:solidFill>
                  <a:schemeClr val="bg1">
                    <a:lumMod val="8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03C3D1-5049-33E6-E3D7-F11B057B0B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39900" y="3853996"/>
            <a:ext cx="2877741" cy="20396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9ADA231-CB49-8EDA-0072-E8CC347EE09F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064" t="25850" r="11371" b="26766"/>
          <a:stretch/>
        </p:blipFill>
        <p:spPr>
          <a:xfrm>
            <a:off x="349219" y="4928920"/>
            <a:ext cx="648903" cy="157649"/>
          </a:xfrm>
          <a:prstGeom prst="rect">
            <a:avLst/>
          </a:prstGeom>
        </p:spPr>
      </p:pic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C936124D-682E-4492-D28F-B9662214A0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97951" y="4929416"/>
            <a:ext cx="379587" cy="156600"/>
          </a:xfrm>
        </p:spPr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797323"/>
      </p:ext>
    </p:extLst>
  </p:cSld>
  <p:clrMapOvr>
    <a:masterClrMapping/>
  </p:clrMapOvr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F6F6AB-427F-3BE4-1714-40CA347A4856}"/>
              </a:ext>
            </a:extLst>
          </p:cNvPr>
          <p:cNvSpPr/>
          <p:nvPr/>
        </p:nvSpPr>
        <p:spPr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pic>
        <p:nvPicPr>
          <p:cNvPr id="4" name="Picture 3" descr="A black background with colorful shapes&#10;&#10;Description automatically generated">
            <a:extLst>
              <a:ext uri="{FF2B5EF4-FFF2-40B4-BE49-F238E27FC236}">
                <a16:creationId xmlns:a16="http://schemas.microsoft.com/office/drawing/2014/main" id="{5AEFA75E-C1D6-02C2-F837-84A1955C3F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900" cy="51440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618A8F-DFD9-C05E-0D84-D2DE94C679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574" y="1059582"/>
            <a:ext cx="676473" cy="46804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1E5D8CD-E616-F947-6C1E-64989E486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9900" y="1707653"/>
            <a:ext cx="4104456" cy="1890211"/>
          </a:xfrm>
        </p:spPr>
        <p:txBody>
          <a:bodyPr anchor="t" anchorCtr="0">
            <a:normAutofit/>
          </a:bodyPr>
          <a:lstStyle>
            <a:lvl1pPr>
              <a:defRPr sz="1800" i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ext</a:t>
            </a:r>
            <a:endParaRPr lang="en-AT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BF29364-276D-C2C6-A0D2-480E8100D8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9900" y="4105345"/>
            <a:ext cx="2877741" cy="203960"/>
          </a:xfrm>
        </p:spPr>
        <p:txBody>
          <a:bodyPr/>
          <a:lstStyle>
            <a:lvl1pPr marL="0" indent="0">
              <a:buNone/>
              <a:defRPr sz="105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AT" dirty="0"/>
              <a:t>Title | Company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03C3D1-5049-33E6-E3D7-F11B057B0B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39900" y="3853996"/>
            <a:ext cx="2877741" cy="20396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AT" dirty="0"/>
              <a:t>Name Last nam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A197037-60FA-F3A0-08D3-FC452905312C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0F811DC-3D63-4FC6-9BF7-1541C9F901E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C41C393-F3B6-AF73-D840-23C67D5CE8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127543"/>
      </p:ext>
    </p:extLst>
  </p:cSld>
  <p:clrMapOvr>
    <a:masterClrMapping/>
  </p:clrMapOvr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7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3181350 w 3181350"/>
              <a:gd name="connsiteY3" fmla="*/ 310895 h 310896"/>
              <a:gd name="connsiteX4" fmla="*/ 3181350 w 3181350"/>
              <a:gd name="connsiteY4" fmla="*/ 310896 h 310896"/>
              <a:gd name="connsiteX5" fmla="*/ 0 w 3181350"/>
              <a:gd name="connsiteY5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3181350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2878017 w 3181350"/>
              <a:gd name="connsiteY2" fmla="*/ 310895 h 310896"/>
              <a:gd name="connsiteX3" fmla="*/ 0 w 3181350"/>
              <a:gd name="connsiteY3" fmla="*/ 310896 h 310896"/>
              <a:gd name="connsiteX4" fmla="*/ 0 w 3181350"/>
              <a:gd name="connsiteY4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287801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5169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5259 h 310896"/>
              <a:gd name="connsiteX3" fmla="*/ 2883146 w 3181350"/>
              <a:gd name="connsiteY3" fmla="*/ 310896 h 310896"/>
              <a:gd name="connsiteX4" fmla="*/ 0 w 3181350"/>
              <a:gd name="connsiteY4" fmla="*/ 310896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5259"/>
                </a:lnTo>
                <a:lnTo>
                  <a:pt x="2883146" y="310896"/>
                </a:lnTo>
                <a:lnTo>
                  <a:pt x="0" y="31089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34612" y="969174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5261 h 310896"/>
              <a:gd name="connsiteX3" fmla="*/ 2883148 w 3181350"/>
              <a:gd name="connsiteY3" fmla="*/ 310896 h 310896"/>
              <a:gd name="connsiteX4" fmla="*/ 0 w 3181350"/>
              <a:gd name="connsiteY4" fmla="*/ 310896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5261"/>
                </a:lnTo>
                <a:lnTo>
                  <a:pt x="2883148" y="310896"/>
                </a:lnTo>
                <a:lnTo>
                  <a:pt x="0" y="31089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347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4570"/>
                </a:lnTo>
                <a:lnTo>
                  <a:pt x="288247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5169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5"/>
                </a:lnTo>
                <a:lnTo>
                  <a:pt x="288024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4612" y="2121132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6"/>
                </a:lnTo>
                <a:lnTo>
                  <a:pt x="288024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9347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4570 h 310896"/>
              <a:gd name="connsiteX3" fmla="*/ 288247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4570"/>
                </a:lnTo>
                <a:lnTo>
                  <a:pt x="288247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55169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5 h 310896"/>
              <a:gd name="connsiteX3" fmla="*/ 2880246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5"/>
                </a:lnTo>
                <a:lnTo>
                  <a:pt x="2880246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4612" y="3281250"/>
            <a:ext cx="2386013" cy="233172"/>
          </a:xfrm>
          <a:custGeom>
            <a:avLst/>
            <a:gdLst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3181350 w 3181350"/>
              <a:gd name="connsiteY5" fmla="*/ 310896 h 310896"/>
              <a:gd name="connsiteX6" fmla="*/ 0 w 3181350"/>
              <a:gd name="connsiteY6" fmla="*/ 310896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3181350 w 3181350"/>
              <a:gd name="connsiteY4" fmla="*/ 310895 h 310896"/>
              <a:gd name="connsiteX5" fmla="*/ 0 w 3181350"/>
              <a:gd name="connsiteY5" fmla="*/ 310896 h 310896"/>
              <a:gd name="connsiteX6" fmla="*/ 0 w 3181350"/>
              <a:gd name="connsiteY6" fmla="*/ 0 h 310896"/>
              <a:gd name="connsiteX0" fmla="*/ 0 w 3181350"/>
              <a:gd name="connsiteY0" fmla="*/ 0 h 310896"/>
              <a:gd name="connsiteX1" fmla="*/ 3181350 w 3181350"/>
              <a:gd name="connsiteY1" fmla="*/ 0 h 310896"/>
              <a:gd name="connsiteX2" fmla="*/ 3181350 w 3181350"/>
              <a:gd name="connsiteY2" fmla="*/ 2286 h 310896"/>
              <a:gd name="connsiteX3" fmla="*/ 2880247 w 3181350"/>
              <a:gd name="connsiteY3" fmla="*/ 310895 h 310896"/>
              <a:gd name="connsiteX4" fmla="*/ 0 w 3181350"/>
              <a:gd name="connsiteY4" fmla="*/ 310896 h 310896"/>
              <a:gd name="connsiteX5" fmla="*/ 0 w 3181350"/>
              <a:gd name="connsiteY5" fmla="*/ 0 h 31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1350" h="310896">
                <a:moveTo>
                  <a:pt x="0" y="0"/>
                </a:moveTo>
                <a:lnTo>
                  <a:pt x="3181350" y="0"/>
                </a:lnTo>
                <a:lnTo>
                  <a:pt x="3181350" y="2286"/>
                </a:lnTo>
                <a:lnTo>
                  <a:pt x="2880247" y="310895"/>
                </a:lnTo>
                <a:lnTo>
                  <a:pt x="0" y="3108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91440" tIns="0" rIns="0" bIns="0" anchor="ctr">
            <a:noAutofit/>
          </a:bodyPr>
          <a:lstStyle>
            <a:lvl1pPr>
              <a:defRPr sz="1200">
                <a:solidFill>
                  <a:srgbClr val="D3D755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C0349ED-1C11-00AC-3335-60D73360264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FEB415F-E437-A3FA-1F6D-D6D9A567383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AC3E9F2-E746-D6EC-8D65-C0BC1066D5B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44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734">
          <p15:clr>
            <a:srgbClr val="FBAE40"/>
          </p15:clr>
        </p15:guide>
        <p15:guide id="2" pos="2611">
          <p15:clr>
            <a:srgbClr val="FBAE40"/>
          </p15:clr>
        </p15:guide>
        <p15:guide id="3" pos="4940">
          <p15:clr>
            <a:srgbClr val="FBAE40"/>
          </p15:clr>
        </p15:guide>
        <p15:guide id="4" pos="5059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1209947"/>
            <a:ext cx="1396603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432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6715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2531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250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22531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62432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671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9347" y="301271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671D35-7C29-423D-B542-0F586763C790}"/>
              </a:ext>
            </a:extLst>
          </p:cNvPr>
          <p:cNvCxnSpPr>
            <a:cxnSpLocks/>
          </p:cNvCxnSpPr>
          <p:nvPr/>
        </p:nvCxnSpPr>
        <p:spPr>
          <a:xfrm>
            <a:off x="489347" y="2743200"/>
            <a:ext cx="816292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4C6647-B079-446B-AA8D-5B4DFB5940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2505" y="3012717"/>
            <a:ext cx="1398767" cy="1039884"/>
          </a:xfrm>
        </p:spPr>
        <p:txBody>
          <a:bodyPr anchor="t">
            <a:noAutofit/>
          </a:bodyPr>
          <a:lstStyle>
            <a:lvl1pPr>
              <a:defRPr sz="1050"/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1D1857-A729-4929-8734-503DD3D68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347" y="2454181"/>
            <a:ext cx="1399032" cy="274320"/>
          </a:xfrm>
          <a:prstGeom prst="rect">
            <a:avLst/>
          </a:prstGeom>
          <a:ln>
            <a:noFill/>
            <a:bevel/>
            <a:headEnd type="none" w="med" len="med"/>
            <a:tailEnd type="none" w="med" len="med"/>
          </a:ln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Year]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80E44C-4A2D-4661-AD22-BB24C15D3D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22532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Year]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B43FDB-A6F2-4060-91A6-8E96774AD2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2431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Year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F1F0739-9660-4447-B3E7-73C480F03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6715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Year]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BB6C881-9C1D-4D94-AE7C-212446E92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504" y="2454181"/>
            <a:ext cx="1399032" cy="274320"/>
          </a:xfrm>
        </p:spPr>
        <p:txBody>
          <a:bodyPr l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Year]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4469A45-AC07-4939-BD36-B7C8309EBD6D}"/>
              </a:ext>
            </a:extLst>
          </p:cNvPr>
          <p:cNvCxnSpPr>
            <a:cxnSpLocks/>
          </p:cNvCxnSpPr>
          <p:nvPr/>
        </p:nvCxnSpPr>
        <p:spPr>
          <a:xfrm>
            <a:off x="489347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1CD60C-6072-4BF3-98B8-99C49F48F12B}"/>
              </a:ext>
            </a:extLst>
          </p:cNvPr>
          <p:cNvCxnSpPr>
            <a:cxnSpLocks/>
          </p:cNvCxnSpPr>
          <p:nvPr/>
        </p:nvCxnSpPr>
        <p:spPr>
          <a:xfrm>
            <a:off x="2122532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BA9941D-6D6D-462F-B0C7-FDE8FB232F17}"/>
              </a:ext>
            </a:extLst>
          </p:cNvPr>
          <p:cNvCxnSpPr>
            <a:cxnSpLocks/>
          </p:cNvCxnSpPr>
          <p:nvPr/>
        </p:nvCxnSpPr>
        <p:spPr>
          <a:xfrm>
            <a:off x="3757613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3AEC5B3-F4A2-434A-A88D-D6EB5EEFD11C}"/>
              </a:ext>
            </a:extLst>
          </p:cNvPr>
          <p:cNvCxnSpPr>
            <a:cxnSpLocks/>
          </p:cNvCxnSpPr>
          <p:nvPr/>
        </p:nvCxnSpPr>
        <p:spPr>
          <a:xfrm>
            <a:off x="5384006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D0FF1AE-B051-43C4-B478-25C9FF963716}"/>
              </a:ext>
            </a:extLst>
          </p:cNvPr>
          <p:cNvCxnSpPr>
            <a:cxnSpLocks/>
          </p:cNvCxnSpPr>
          <p:nvPr/>
        </p:nvCxnSpPr>
        <p:spPr>
          <a:xfrm>
            <a:off x="7019925" y="2286000"/>
            <a:ext cx="0" cy="6901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4347A8D-8D3D-470C-B3AF-EE5654AD31C2}"/>
              </a:ext>
            </a:extLst>
          </p:cNvPr>
          <p:cNvSpPr/>
          <p:nvPr/>
        </p:nvSpPr>
        <p:spPr>
          <a:xfrm>
            <a:off x="6991350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066184E-51B6-47D7-AE97-17999DAFCC5E}"/>
              </a:ext>
            </a:extLst>
          </p:cNvPr>
          <p:cNvSpPr/>
          <p:nvPr/>
        </p:nvSpPr>
        <p:spPr>
          <a:xfrm>
            <a:off x="5355431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6C33653-7B96-48E2-A96C-A8941F5EA7CB}"/>
              </a:ext>
            </a:extLst>
          </p:cNvPr>
          <p:cNvSpPr/>
          <p:nvPr/>
        </p:nvSpPr>
        <p:spPr>
          <a:xfrm>
            <a:off x="3729038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5A9EBB-AD97-432E-B603-644FB25C4F7B}"/>
              </a:ext>
            </a:extLst>
          </p:cNvPr>
          <p:cNvSpPr/>
          <p:nvPr/>
        </p:nvSpPr>
        <p:spPr>
          <a:xfrm>
            <a:off x="2096099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D0AD25-E239-4962-BC9B-8F79D23F7F92}"/>
              </a:ext>
            </a:extLst>
          </p:cNvPr>
          <p:cNvSpPr/>
          <p:nvPr/>
        </p:nvSpPr>
        <p:spPr>
          <a:xfrm>
            <a:off x="460772" y="2714625"/>
            <a:ext cx="57150" cy="57150"/>
          </a:xfrm>
          <a:prstGeom prst="rect">
            <a:avLst/>
          </a:prstGeom>
          <a:solidFill>
            <a:srgbClr val="F36D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758780F-C1FD-9B96-1A07-71B65FC24D9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ABED24-EE94-0B8F-8380-967E248426FE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0E2E42-8386-21A9-03C6-BA66A836F9C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09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156">
          <p15:clr>
            <a:srgbClr val="FBAE40"/>
          </p15:clr>
        </p15:guide>
        <p15:guide id="2" pos="1781">
          <p15:clr>
            <a:srgbClr val="FBAE40"/>
          </p15:clr>
        </p15:guide>
        <p15:guide id="3" pos="4522">
          <p15:clr>
            <a:srgbClr val="FBAE40"/>
          </p15:clr>
        </p15:guide>
        <p15:guide id="4" pos="589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Mov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2C78D-46EF-4E59-AF5C-1B55CBC36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DCE28D9-AC23-4E31-9484-082689437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1209947"/>
            <a:ext cx="1396603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791866A-12A6-46F1-B35B-04C5F6A2FE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432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0481DA2-ADBB-45C2-BDB1-E3F0E09739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6715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65EF6C1-F268-4E40-AF42-E8F739009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2531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42A1221E-E83A-4BF8-B8DE-FA5240885D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250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032F926-1D38-404D-B09D-F794CA91F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22531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788EC05-5918-48E0-99FC-B5ED16550A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62432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2E642F3-886C-4D6D-978D-7CE2950BA7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6715" y="1209947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b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09B01AC-4063-4659-AF62-D588C2F33D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9347" y="3017766"/>
            <a:ext cx="1398767" cy="1039884"/>
          </a:xfrm>
          <a:prstGeom prst="rect">
            <a:avLst/>
          </a:prstGeom>
          <a:noFill/>
        </p:spPr>
        <p:txBody>
          <a:bodyPr wrap="square" lIns="91440" tIns="0" rIns="0" bIns="0" anchor="t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671D35-7C29-423D-B542-0F586763C790}"/>
              </a:ext>
            </a:extLst>
          </p:cNvPr>
          <p:cNvCxnSpPr>
            <a:cxnSpLocks/>
          </p:cNvCxnSpPr>
          <p:nvPr/>
        </p:nvCxnSpPr>
        <p:spPr>
          <a:xfrm>
            <a:off x="489347" y="2743200"/>
            <a:ext cx="816292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4C6647-B079-446B-AA8D-5B4DFB5940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2505" y="3017766"/>
            <a:ext cx="1398767" cy="1039884"/>
          </a:xfrm>
        </p:spPr>
        <p:txBody>
          <a:bodyPr anchor="t">
            <a:noAutofit/>
          </a:bodyPr>
          <a:lstStyle>
            <a:lvl1pPr>
              <a:defRPr sz="1050"/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1D1857-A729-4929-8734-503DD3D68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347" y="2286001"/>
            <a:ext cx="1399032" cy="688865"/>
          </a:xfrm>
          <a:prstGeom prst="accentCallout1">
            <a:avLst>
              <a:gd name="adj1" fmla="val 65508"/>
              <a:gd name="adj2" fmla="val 86"/>
              <a:gd name="adj3" fmla="val 65889"/>
              <a:gd name="adj4" fmla="val -61"/>
            </a:avLst>
          </a:prstGeom>
          <a:ln cap="rnd">
            <a:solidFill>
              <a:schemeClr val="accent1"/>
            </a:solidFill>
            <a:bevel/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80E44C-4A2D-4661-AD22-BB24C15D3D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22531" y="2286000"/>
            <a:ext cx="1399032" cy="688181"/>
          </a:xfrm>
          <a:prstGeom prst="accentCallout1">
            <a:avLst>
              <a:gd name="adj1" fmla="val 65924"/>
              <a:gd name="adj2" fmla="val -252"/>
              <a:gd name="adj3" fmla="val 63269"/>
              <a:gd name="adj4" fmla="val -404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B43FDB-A6F2-4060-91A6-8E96774AD2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2431" y="2286000"/>
            <a:ext cx="1399032" cy="688181"/>
          </a:xfrm>
          <a:prstGeom prst="accentCallout1">
            <a:avLst>
              <a:gd name="adj1" fmla="val 66674"/>
              <a:gd name="adj2" fmla="val -622"/>
              <a:gd name="adj3" fmla="val 69055"/>
              <a:gd name="adj4" fmla="val 222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F1F0739-9660-4447-B3E7-73C480F03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6715" y="2286000"/>
            <a:ext cx="1399032" cy="688181"/>
          </a:xfrm>
          <a:prstGeom prst="accentCallout1">
            <a:avLst>
              <a:gd name="adj1" fmla="val 66450"/>
              <a:gd name="adj2" fmla="val -401"/>
              <a:gd name="adj3" fmla="val 65696"/>
              <a:gd name="adj4" fmla="val -329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BB6C881-9C1D-4D94-AE7C-212446E92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504" y="2286000"/>
            <a:ext cx="1399032" cy="688181"/>
          </a:xfrm>
          <a:prstGeom prst="accentCallout1">
            <a:avLst>
              <a:gd name="adj1" fmla="val 65415"/>
              <a:gd name="adj2" fmla="val -292"/>
              <a:gd name="adj3" fmla="val 65781"/>
              <a:gd name="adj4" fmla="val -464"/>
            </a:avLst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txBody>
          <a:bodyPr lIns="91440" bIns="91440" anchor="ctr">
            <a:noAutofit/>
          </a:bodyPr>
          <a:lstStyle>
            <a:lvl1pPr marL="0" indent="0">
              <a:buNone/>
              <a:defRPr sz="105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04E2358-CF8A-4C49-D447-BBF6544D4FD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1D5251-05CD-6EAF-B988-931D8C1CBD3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BA26A4-D67F-632A-2A8E-04D6F22A09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57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156">
          <p15:clr>
            <a:srgbClr val="FBAE40"/>
          </p15:clr>
        </p15:guide>
        <p15:guide id="2" pos="1781">
          <p15:clr>
            <a:srgbClr val="FBAE40"/>
          </p15:clr>
        </p15:guide>
        <p15:guide id="3" pos="4522">
          <p15:clr>
            <a:srgbClr val="FBAE40"/>
          </p15:clr>
        </p15:guide>
        <p15:guide id="4" pos="589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674D13-5F45-1287-A3A0-B93342F716CC}"/>
              </a:ext>
            </a:extLst>
          </p:cNvPr>
          <p:cNvSpPr/>
          <p:nvPr/>
        </p:nvSpPr>
        <p:spPr>
          <a:xfrm>
            <a:off x="2055103" y="4332089"/>
            <a:ext cx="6642848" cy="230985"/>
          </a:xfrm>
          <a:prstGeom prst="rect">
            <a:avLst/>
          </a:prstGeom>
          <a:solidFill>
            <a:schemeClr val="tx2">
              <a:lumMod val="40000"/>
              <a:lumOff val="6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D2566FA-E254-1271-B49C-2B09817CA9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348" y="1825202"/>
            <a:ext cx="139660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8CAF4B-9474-8D38-69A6-B47033C74667}"/>
              </a:ext>
            </a:extLst>
          </p:cNvPr>
          <p:cNvCxnSpPr>
            <a:cxnSpLocks/>
          </p:cNvCxnSpPr>
          <p:nvPr/>
        </p:nvCxnSpPr>
        <p:spPr>
          <a:xfrm>
            <a:off x="494307" y="2733768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8CBA2F05-833E-B702-70E3-81DFEC11AA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9348" y="2355726"/>
            <a:ext cx="139660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A7222EA1-0B0D-0FCD-6651-1C8476382B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9348" y="2909754"/>
            <a:ext cx="139660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2C4B06CC-5060-67AD-BCEF-4A16AB25D75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9348" y="3430263"/>
            <a:ext cx="139660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BE4CD2-8C7F-3EA7-D6E5-DB96E757DA6F}"/>
              </a:ext>
            </a:extLst>
          </p:cNvPr>
          <p:cNvCxnSpPr>
            <a:cxnSpLocks/>
          </p:cNvCxnSpPr>
          <p:nvPr/>
        </p:nvCxnSpPr>
        <p:spPr>
          <a:xfrm>
            <a:off x="489347" y="3279103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CA06F4D-5551-3536-B6EB-E4AB00261502}"/>
              </a:ext>
            </a:extLst>
          </p:cNvPr>
          <p:cNvCxnSpPr>
            <a:cxnSpLocks/>
          </p:cNvCxnSpPr>
          <p:nvPr/>
        </p:nvCxnSpPr>
        <p:spPr>
          <a:xfrm>
            <a:off x="489347" y="3813888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33E102A5-5541-1F54-2E75-9D284A9D134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9348" y="3965048"/>
            <a:ext cx="139660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2BA5A5-10AA-60C7-B8C0-FB57EBC47653}"/>
              </a:ext>
            </a:extLst>
          </p:cNvPr>
          <p:cNvCxnSpPr>
            <a:cxnSpLocks/>
          </p:cNvCxnSpPr>
          <p:nvPr/>
        </p:nvCxnSpPr>
        <p:spPr>
          <a:xfrm>
            <a:off x="494307" y="2203244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AC02A40-3285-C422-C713-60347537B648}"/>
              </a:ext>
            </a:extLst>
          </p:cNvPr>
          <p:cNvCxnSpPr>
            <a:cxnSpLocks/>
          </p:cNvCxnSpPr>
          <p:nvPr/>
        </p:nvCxnSpPr>
        <p:spPr>
          <a:xfrm>
            <a:off x="2055102" y="1476892"/>
            <a:ext cx="0" cy="3086182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21D5A7-665C-F1A7-28DD-8AF75825FCD2}"/>
              </a:ext>
            </a:extLst>
          </p:cNvPr>
          <p:cNvCxnSpPr>
            <a:cxnSpLocks/>
          </p:cNvCxnSpPr>
          <p:nvPr/>
        </p:nvCxnSpPr>
        <p:spPr>
          <a:xfrm>
            <a:off x="3722036" y="1486273"/>
            <a:ext cx="0" cy="3076801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A8BBAE-F3D8-9301-40FD-FA2C7BA7D229}"/>
              </a:ext>
            </a:extLst>
          </p:cNvPr>
          <p:cNvCxnSpPr>
            <a:cxnSpLocks/>
          </p:cNvCxnSpPr>
          <p:nvPr/>
        </p:nvCxnSpPr>
        <p:spPr>
          <a:xfrm>
            <a:off x="5401877" y="1486273"/>
            <a:ext cx="0" cy="3076801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CC631C4-83BF-F2B2-5916-669E3E586BAC}"/>
              </a:ext>
            </a:extLst>
          </p:cNvPr>
          <p:cNvCxnSpPr>
            <a:cxnSpLocks/>
          </p:cNvCxnSpPr>
          <p:nvPr/>
        </p:nvCxnSpPr>
        <p:spPr>
          <a:xfrm>
            <a:off x="7071257" y="1476892"/>
            <a:ext cx="0" cy="3086182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0038CB-3EED-F2C1-40FA-01ABD91F96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22566" y="4345287"/>
            <a:ext cx="697743" cy="20459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900" b="1" i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Q1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5FCCC051-8639-BF6D-2C29-264D68D9C9D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07418" y="3456729"/>
            <a:ext cx="2303705" cy="216024"/>
          </a:xfrm>
          <a:prstGeom prst="rect">
            <a:avLst/>
          </a:prstGeom>
          <a:solidFill>
            <a:schemeClr val="accent4"/>
          </a:solidFill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E74CD9A-53A7-7BF1-3BAE-BDEAB395AE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27628" y="4339321"/>
            <a:ext cx="697743" cy="20459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900" b="1" i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Q2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E75401CA-AD49-2401-882B-162EB3B1C4F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907524" y="4345287"/>
            <a:ext cx="697743" cy="20459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900" b="1" i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Q3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CEAF064-9A55-64BA-035F-984C4A4E5B1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62252" y="4345287"/>
            <a:ext cx="697743" cy="20459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900" b="1" i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  <a:lvl2pPr marL="171450" indent="0">
              <a:buNone/>
              <a:defRPr/>
            </a:lvl2pPr>
          </a:lstStyle>
          <a:p>
            <a:pPr lvl="0"/>
            <a:r>
              <a:rPr lang="en-US" dirty="0"/>
              <a:t>Q4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C020FB4-641F-C2B4-CE6E-1743B1CFBCDE}"/>
              </a:ext>
            </a:extLst>
          </p:cNvPr>
          <p:cNvCxnSpPr>
            <a:cxnSpLocks/>
          </p:cNvCxnSpPr>
          <p:nvPr/>
        </p:nvCxnSpPr>
        <p:spPr>
          <a:xfrm>
            <a:off x="489347" y="4329812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53DF296A-CBD5-829B-EFFC-1EC4E98B3FE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055102" y="1242497"/>
            <a:ext cx="67984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FFFCBC-208B-DFA7-077D-543374C060AA}"/>
              </a:ext>
            </a:extLst>
          </p:cNvPr>
          <p:cNvCxnSpPr>
            <a:cxnSpLocks/>
          </p:cNvCxnSpPr>
          <p:nvPr/>
        </p:nvCxnSpPr>
        <p:spPr>
          <a:xfrm>
            <a:off x="2645486" y="1658791"/>
            <a:ext cx="0" cy="268052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Diamond 29">
            <a:extLst>
              <a:ext uri="{FF2B5EF4-FFF2-40B4-BE49-F238E27FC236}">
                <a16:creationId xmlns:a16="http://schemas.microsoft.com/office/drawing/2014/main" id="{5C538D61-E23B-6403-677C-3B882AB2162C}"/>
              </a:ext>
            </a:extLst>
          </p:cNvPr>
          <p:cNvSpPr/>
          <p:nvPr/>
        </p:nvSpPr>
        <p:spPr>
          <a:xfrm>
            <a:off x="2609904" y="4295966"/>
            <a:ext cx="73418" cy="73418"/>
          </a:xfrm>
          <a:prstGeom prst="diamond">
            <a:avLst/>
          </a:prstGeom>
          <a:solidFill>
            <a:srgbClr val="FF6C0E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6D6CDC-1F24-842C-ADFD-B54E02DD6C32}"/>
              </a:ext>
            </a:extLst>
          </p:cNvPr>
          <p:cNvCxnSpPr>
            <a:cxnSpLocks/>
          </p:cNvCxnSpPr>
          <p:nvPr/>
        </p:nvCxnSpPr>
        <p:spPr>
          <a:xfrm>
            <a:off x="4378827" y="1658791"/>
            <a:ext cx="0" cy="268052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iamond 31">
            <a:extLst>
              <a:ext uri="{FF2B5EF4-FFF2-40B4-BE49-F238E27FC236}">
                <a16:creationId xmlns:a16="http://schemas.microsoft.com/office/drawing/2014/main" id="{CEB082BC-593F-3576-6DC1-D925E62F698D}"/>
              </a:ext>
            </a:extLst>
          </p:cNvPr>
          <p:cNvSpPr/>
          <p:nvPr/>
        </p:nvSpPr>
        <p:spPr>
          <a:xfrm>
            <a:off x="4343245" y="4295966"/>
            <a:ext cx="73418" cy="73418"/>
          </a:xfrm>
          <a:prstGeom prst="diamond">
            <a:avLst/>
          </a:prstGeom>
          <a:solidFill>
            <a:srgbClr val="FF6C0E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408C874B-79C2-5F31-2200-BAE17630E0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28153" y="1242497"/>
            <a:ext cx="67984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36C1BC9F-1F25-17D7-5B99-5F3D1565FB4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404972" y="1242497"/>
            <a:ext cx="67984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E35115A-8B9C-146B-1015-EAD42CD130B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78023" y="1242497"/>
            <a:ext cx="679843" cy="216024"/>
          </a:xfrm>
          <a:prstGeom prst="rect">
            <a:avLst/>
          </a:prstGeom>
          <a:noFill/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2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1D4BED29-6D6E-3B28-8B15-B83738CF510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009560" y="3955846"/>
            <a:ext cx="2303705" cy="2160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035D582E-00CD-852C-F6A2-D0BA6C47A5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33353" y="2355726"/>
            <a:ext cx="2476112" cy="216024"/>
          </a:xfrm>
          <a:prstGeom prst="rect">
            <a:avLst/>
          </a:prstGeom>
          <a:solidFill>
            <a:schemeClr val="accent1">
              <a:lumMod val="40000"/>
              <a:lumOff val="60000"/>
              <a:alpha val="79000"/>
            </a:schemeClr>
          </a:solidFill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sp>
        <p:nvSpPr>
          <p:cNvPr id="38" name="Text Placeholder 29">
            <a:extLst>
              <a:ext uri="{FF2B5EF4-FFF2-40B4-BE49-F238E27FC236}">
                <a16:creationId xmlns:a16="http://schemas.microsoft.com/office/drawing/2014/main" id="{0AF1AC05-D6A2-DD44-E53B-8DA93B5A098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30373" y="2918707"/>
            <a:ext cx="2476112" cy="216024"/>
          </a:xfrm>
          <a:prstGeom prst="rect">
            <a:avLst/>
          </a:prstGeom>
          <a:solidFill>
            <a:schemeClr val="accent6"/>
          </a:solidFill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42E76DA-29CE-B0C0-3DBB-DF90255A95F5}"/>
              </a:ext>
            </a:extLst>
          </p:cNvPr>
          <p:cNvCxnSpPr>
            <a:cxnSpLocks/>
          </p:cNvCxnSpPr>
          <p:nvPr/>
        </p:nvCxnSpPr>
        <p:spPr>
          <a:xfrm>
            <a:off x="494307" y="1658792"/>
            <a:ext cx="81629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324B6452-4061-0EE8-1054-F731BACB1011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97B9C9CB-7225-867B-F248-26AD9C18BBA9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A0FD99AE-BAFC-D9A1-FC8F-86955EED350B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9">
            <a:extLst>
              <a:ext uri="{FF2B5EF4-FFF2-40B4-BE49-F238E27FC236}">
                <a16:creationId xmlns:a16="http://schemas.microsoft.com/office/drawing/2014/main" id="{47C9F9B6-B557-585E-114D-180F878D1C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57419" y="1825202"/>
            <a:ext cx="1914581" cy="216024"/>
          </a:xfrm>
          <a:prstGeom prst="rect">
            <a:avLst/>
          </a:prstGeom>
          <a:solidFill>
            <a:schemeClr val="accent5"/>
          </a:solidFill>
        </p:spPr>
        <p:txBody>
          <a:bodyPr wrap="square" lIns="91440" tIns="0" rIns="0" bIns="0" anchor="ctr" anchorCtr="0">
            <a:noAutofit/>
          </a:bodyPr>
          <a:lstStyle>
            <a:lvl1pPr marL="0" indent="0">
              <a:buNone/>
              <a:defRPr lang="en-US" sz="9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1450" indent="0">
              <a:buNone/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[Insert text]</a:t>
            </a:r>
          </a:p>
        </p:txBody>
      </p:sp>
    </p:spTree>
    <p:extLst>
      <p:ext uri="{BB962C8B-B14F-4D97-AF65-F5344CB8AC3E}">
        <p14:creationId xmlns:p14="http://schemas.microsoft.com/office/powerpoint/2010/main" val="3226786005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3D075-2D2A-432B-A997-D5993EB179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9348" y="975160"/>
            <a:ext cx="4010169" cy="308385"/>
          </a:xfrm>
        </p:spPr>
        <p:txBody>
          <a:bodyPr tIns="0" bIns="0" anchor="t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9F82A4-080D-41BF-B4A7-7E4FACCED81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89348" y="1428750"/>
            <a:ext cx="4010169" cy="32563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AB3100-2FB8-47F1-8100-0FBAE4AEF7D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3738" y="975160"/>
            <a:ext cx="4011930" cy="308385"/>
          </a:xfrm>
        </p:spPr>
        <p:txBody>
          <a:bodyPr tIns="0" bIns="0" anchor="t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8BA0B-4EA0-48FF-8698-F2CB788CC4F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643738" y="1428750"/>
            <a:ext cx="4011930" cy="325636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5A8E38F-F454-4E0C-98DB-2A7A7146F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0B07B7-1784-256F-4357-5E5BD42DE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1497-D22D-F547-9F52-211DB15FF3CB}" type="datetimeFigureOut">
              <a:rPr lang="en-US" smtClean="0"/>
              <a:t>7/1/2026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578BFC6-6593-C2C7-055F-D1B2059B3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D12C6C6-AB13-F081-B2B8-8653B5C73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22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3898">
          <p15:clr>
            <a:srgbClr val="FBAE40"/>
          </p15:clr>
        </p15:guide>
        <p15:guide id="2" pos="3779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DE40A22-17F4-510B-12B7-B7EB67416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E66E2E0-DCB9-8C1C-03F8-6476578B2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41C132-5D57-F2E6-066E-98BFE60EF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534012"/>
      </p:ext>
    </p:extLst>
  </p:cSld>
  <p:clrMapOvr>
    <a:masterClrMapping/>
  </p:clrMapOvr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E9A69C7-1746-B0F7-5221-F9BD2D766447}"/>
              </a:ext>
            </a:extLst>
          </p:cNvPr>
          <p:cNvSpPr>
            <a:spLocks/>
          </p:cNvSpPr>
          <p:nvPr/>
        </p:nvSpPr>
        <p:spPr>
          <a:xfrm>
            <a:off x="0" y="0"/>
            <a:ext cx="9144000" cy="487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 sz="135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FD9177-7015-4A49-8BC8-19EBA7FA0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969A24-E56D-E045-4C94-56E1881DE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2BA379-0A6F-FFD5-27F6-45CBDF259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2873F1-B772-62F1-BBEC-89F8CB7A9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04313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9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97.xml"/><Relationship Id="rId42" Type="http://schemas.openxmlformats.org/officeDocument/2006/relationships/slideLayout" Target="../slideLayouts/slideLayout105.xml"/><Relationship Id="rId47" Type="http://schemas.openxmlformats.org/officeDocument/2006/relationships/slideLayout" Target="../slideLayouts/slideLayout110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100.xml"/><Relationship Id="rId40" Type="http://schemas.openxmlformats.org/officeDocument/2006/relationships/slideLayout" Target="../slideLayouts/slideLayout103.xml"/><Relationship Id="rId45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49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4" Type="http://schemas.openxmlformats.org/officeDocument/2006/relationships/slideLayout" Target="../slideLayouts/slideLayout107.xml"/><Relationship Id="rId52" Type="http://schemas.openxmlformats.org/officeDocument/2006/relationships/image" Target="../media/image28.sv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106.xml"/><Relationship Id="rId48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71.xml"/><Relationship Id="rId51" Type="http://schemas.openxmlformats.org/officeDocument/2006/relationships/image" Target="../media/image27.png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94BEE0D-23B9-FD45-F252-6342F940A18A}"/>
              </a:ext>
            </a:extLst>
          </p:cNvPr>
          <p:cNvGraphicFramePr>
            <a:graphicFrameLocks noChangeAspect="1"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31350492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327" imgH="326" progId="TCLayout.ActiveDocument.1">
                  <p:embed/>
                </p:oleObj>
              </mc:Choice>
              <mc:Fallback>
                <p:oleObj name="think-cell Slide" r:id="rId66" imgW="327" imgH="3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4BEE0D-23B9-FD45-F252-6342F940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A0EF1A-26EB-0B44-AF2A-A7C0F66D4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2545"/>
            <a:ext cx="7886700" cy="296466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136D13-BD31-4A42-BDA1-CBAD1E27E4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7" name="Graphic 7">
            <a:extLst>
              <a:ext uri="{FF2B5EF4-FFF2-40B4-BE49-F238E27FC236}">
                <a16:creationId xmlns:a16="http://schemas.microsoft.com/office/drawing/2014/main" id="{FDEBF1F9-842A-C743-90D3-4F3ED1C825D2}"/>
              </a:ext>
            </a:extLst>
          </p:cNvPr>
          <p:cNvGrpSpPr/>
          <p:nvPr/>
        </p:nvGrpSpPr>
        <p:grpSpPr>
          <a:xfrm>
            <a:off x="1" y="4834889"/>
            <a:ext cx="9143999" cy="308610"/>
            <a:chOff x="0" y="6446519"/>
            <a:chExt cx="12191999" cy="411480"/>
          </a:xfrm>
          <a:solidFill>
            <a:schemeClr val="accent1"/>
          </a:solidFill>
        </p:grpSpPr>
        <p:sp>
          <p:nvSpPr>
            <p:cNvPr id="8" name="Freeform: Shape 10">
              <a:extLst>
                <a:ext uri="{FF2B5EF4-FFF2-40B4-BE49-F238E27FC236}">
                  <a16:creationId xmlns:a16="http://schemas.microsoft.com/office/drawing/2014/main" id="{3AF0D1FA-11CD-C348-9BCB-E381792DC441}"/>
                </a:ext>
              </a:extLst>
            </p:cNvPr>
            <p:cNvSpPr/>
            <p:nvPr/>
          </p:nvSpPr>
          <p:spPr>
            <a:xfrm>
              <a:off x="0" y="6446519"/>
              <a:ext cx="8041767" cy="411480"/>
            </a:xfrm>
            <a:custGeom>
              <a:avLst/>
              <a:gdLst>
                <a:gd name="connsiteX0" fmla="*/ 8041768 w 8041767"/>
                <a:gd name="connsiteY0" fmla="*/ 0 h 411480"/>
                <a:gd name="connsiteX1" fmla="*/ 0 w 8041767"/>
                <a:gd name="connsiteY1" fmla="*/ 0 h 411480"/>
                <a:gd name="connsiteX2" fmla="*/ 0 w 8041767"/>
                <a:gd name="connsiteY2" fmla="*/ 411480 h 411480"/>
                <a:gd name="connsiteX3" fmla="*/ 7630287 w 8041767"/>
                <a:gd name="connsiteY3" fmla="*/ 411480 h 411480"/>
                <a:gd name="connsiteX4" fmla="*/ 8041768 w 8041767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767" h="411480">
                  <a:moveTo>
                    <a:pt x="8041768" y="0"/>
                  </a:moveTo>
                  <a:lnTo>
                    <a:pt x="0" y="0"/>
                  </a:lnTo>
                  <a:lnTo>
                    <a:pt x="0" y="411480"/>
                  </a:lnTo>
                  <a:lnTo>
                    <a:pt x="7630287" y="411480"/>
                  </a:lnTo>
                  <a:lnTo>
                    <a:pt x="8041768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BD1C0D66-DE9C-2943-BB05-87312FA178E3}"/>
                </a:ext>
              </a:extLst>
            </p:cNvPr>
            <p:cNvSpPr/>
            <p:nvPr/>
          </p:nvSpPr>
          <p:spPr>
            <a:xfrm>
              <a:off x="10128217" y="6446519"/>
              <a:ext cx="2063782" cy="411480"/>
            </a:xfrm>
            <a:custGeom>
              <a:avLst/>
              <a:gdLst>
                <a:gd name="connsiteX0" fmla="*/ 411481 w 2063782"/>
                <a:gd name="connsiteY0" fmla="*/ 0 h 411480"/>
                <a:gd name="connsiteX1" fmla="*/ 0 w 2063782"/>
                <a:gd name="connsiteY1" fmla="*/ 411480 h 411480"/>
                <a:gd name="connsiteX2" fmla="*/ 2063782 w 2063782"/>
                <a:gd name="connsiteY2" fmla="*/ 411480 h 411480"/>
                <a:gd name="connsiteX3" fmla="*/ 2063782 w 2063782"/>
                <a:gd name="connsiteY3" fmla="*/ 0 h 411480"/>
                <a:gd name="connsiteX4" fmla="*/ 411481 w 2063782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782" h="411480">
                  <a:moveTo>
                    <a:pt x="411481" y="0"/>
                  </a:moveTo>
                  <a:lnTo>
                    <a:pt x="0" y="411480"/>
                  </a:lnTo>
                  <a:lnTo>
                    <a:pt x="2063782" y="411480"/>
                  </a:lnTo>
                  <a:lnTo>
                    <a:pt x="2063782" y="0"/>
                  </a:lnTo>
                  <a:lnTo>
                    <a:pt x="411481" y="0"/>
                  </a:lnTo>
                  <a:close/>
                </a:path>
              </a:pathLst>
            </a:custGeom>
            <a:solidFill>
              <a:srgbClr val="1B36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" name="Freeform: Shape 13">
              <a:extLst>
                <a:ext uri="{FF2B5EF4-FFF2-40B4-BE49-F238E27FC236}">
                  <a16:creationId xmlns:a16="http://schemas.microsoft.com/office/drawing/2014/main" id="{14FA02F1-B2FF-2C4E-9A48-895CBB7A3B05}"/>
                </a:ext>
              </a:extLst>
            </p:cNvPr>
            <p:cNvSpPr/>
            <p:nvPr/>
          </p:nvSpPr>
          <p:spPr>
            <a:xfrm>
              <a:off x="7630287" y="6446519"/>
              <a:ext cx="2909411" cy="411480"/>
            </a:xfrm>
            <a:custGeom>
              <a:avLst/>
              <a:gdLst>
                <a:gd name="connsiteX0" fmla="*/ 2909411 w 2909411"/>
                <a:gd name="connsiteY0" fmla="*/ 0 h 411480"/>
                <a:gd name="connsiteX1" fmla="*/ 411480 w 2909411"/>
                <a:gd name="connsiteY1" fmla="*/ 0 h 411480"/>
                <a:gd name="connsiteX2" fmla="*/ 0 w 2909411"/>
                <a:gd name="connsiteY2" fmla="*/ 411480 h 411480"/>
                <a:gd name="connsiteX3" fmla="*/ 2497931 w 2909411"/>
                <a:gd name="connsiteY3" fmla="*/ 411480 h 411480"/>
                <a:gd name="connsiteX4" fmla="*/ 2909411 w 2909411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411" h="411480">
                  <a:moveTo>
                    <a:pt x="2909411" y="0"/>
                  </a:moveTo>
                  <a:lnTo>
                    <a:pt x="411480" y="0"/>
                  </a:lnTo>
                  <a:lnTo>
                    <a:pt x="0" y="411480"/>
                  </a:lnTo>
                  <a:lnTo>
                    <a:pt x="2497931" y="411480"/>
                  </a:lnTo>
                  <a:lnTo>
                    <a:pt x="2909411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E0B356B-FA55-1547-9F44-457B57C667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06590" y="485227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0077B35-9B3C-4C45-A308-999178FAF2F9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grpSp>
        <p:nvGrpSpPr>
          <p:cNvPr id="11" name="Graphic 7">
            <a:extLst>
              <a:ext uri="{FF2B5EF4-FFF2-40B4-BE49-F238E27FC236}">
                <a16:creationId xmlns:a16="http://schemas.microsoft.com/office/drawing/2014/main" id="{D57B5BB6-6717-494C-8D2B-1DB03FFEDEF8}"/>
              </a:ext>
            </a:extLst>
          </p:cNvPr>
          <p:cNvGrpSpPr/>
          <p:nvPr/>
        </p:nvGrpSpPr>
        <p:grpSpPr>
          <a:xfrm>
            <a:off x="1" y="4834889"/>
            <a:ext cx="9143999" cy="308610"/>
            <a:chOff x="0" y="6446519"/>
            <a:chExt cx="12191999" cy="411480"/>
          </a:xfrm>
          <a:solidFill>
            <a:schemeClr val="accent1"/>
          </a:solidFill>
        </p:grpSpPr>
        <p:sp>
          <p:nvSpPr>
            <p:cNvPr id="12" name="Freeform: Shape 10">
              <a:extLst>
                <a:ext uri="{FF2B5EF4-FFF2-40B4-BE49-F238E27FC236}">
                  <a16:creationId xmlns:a16="http://schemas.microsoft.com/office/drawing/2014/main" id="{7B87C6BC-4B70-5A4F-8427-99BB8B3BD9EB}"/>
                </a:ext>
              </a:extLst>
            </p:cNvPr>
            <p:cNvSpPr/>
            <p:nvPr/>
          </p:nvSpPr>
          <p:spPr>
            <a:xfrm>
              <a:off x="0" y="6446519"/>
              <a:ext cx="8041767" cy="411480"/>
            </a:xfrm>
            <a:custGeom>
              <a:avLst/>
              <a:gdLst>
                <a:gd name="connsiteX0" fmla="*/ 8041768 w 8041767"/>
                <a:gd name="connsiteY0" fmla="*/ 0 h 411480"/>
                <a:gd name="connsiteX1" fmla="*/ 0 w 8041767"/>
                <a:gd name="connsiteY1" fmla="*/ 0 h 411480"/>
                <a:gd name="connsiteX2" fmla="*/ 0 w 8041767"/>
                <a:gd name="connsiteY2" fmla="*/ 411480 h 411480"/>
                <a:gd name="connsiteX3" fmla="*/ 7630287 w 8041767"/>
                <a:gd name="connsiteY3" fmla="*/ 411480 h 411480"/>
                <a:gd name="connsiteX4" fmla="*/ 8041768 w 8041767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767" h="411480">
                  <a:moveTo>
                    <a:pt x="8041768" y="0"/>
                  </a:moveTo>
                  <a:lnTo>
                    <a:pt x="0" y="0"/>
                  </a:lnTo>
                  <a:lnTo>
                    <a:pt x="0" y="411480"/>
                  </a:lnTo>
                  <a:lnTo>
                    <a:pt x="7630287" y="411480"/>
                  </a:lnTo>
                  <a:lnTo>
                    <a:pt x="8041768" y="0"/>
                  </a:lnTo>
                  <a:close/>
                </a:path>
              </a:pathLst>
            </a:custGeom>
            <a:solidFill>
              <a:srgbClr val="0D4E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Freeform: Shape 11">
              <a:extLst>
                <a:ext uri="{FF2B5EF4-FFF2-40B4-BE49-F238E27FC236}">
                  <a16:creationId xmlns:a16="http://schemas.microsoft.com/office/drawing/2014/main" id="{16DFFE0E-A500-B445-B7E4-AC86C71F492A}"/>
                </a:ext>
              </a:extLst>
            </p:cNvPr>
            <p:cNvSpPr/>
            <p:nvPr/>
          </p:nvSpPr>
          <p:spPr>
            <a:xfrm>
              <a:off x="10128217" y="6446519"/>
              <a:ext cx="2063782" cy="411480"/>
            </a:xfrm>
            <a:custGeom>
              <a:avLst/>
              <a:gdLst>
                <a:gd name="connsiteX0" fmla="*/ 411481 w 2063782"/>
                <a:gd name="connsiteY0" fmla="*/ 0 h 411480"/>
                <a:gd name="connsiteX1" fmla="*/ 0 w 2063782"/>
                <a:gd name="connsiteY1" fmla="*/ 411480 h 411480"/>
                <a:gd name="connsiteX2" fmla="*/ 2063782 w 2063782"/>
                <a:gd name="connsiteY2" fmla="*/ 411480 h 411480"/>
                <a:gd name="connsiteX3" fmla="*/ 2063782 w 2063782"/>
                <a:gd name="connsiteY3" fmla="*/ 0 h 411480"/>
                <a:gd name="connsiteX4" fmla="*/ 411481 w 2063782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782" h="411480">
                  <a:moveTo>
                    <a:pt x="411481" y="0"/>
                  </a:moveTo>
                  <a:lnTo>
                    <a:pt x="0" y="411480"/>
                  </a:lnTo>
                  <a:lnTo>
                    <a:pt x="2063782" y="411480"/>
                  </a:lnTo>
                  <a:lnTo>
                    <a:pt x="2063782" y="0"/>
                  </a:lnTo>
                  <a:lnTo>
                    <a:pt x="411481" y="0"/>
                  </a:lnTo>
                  <a:close/>
                </a:path>
              </a:pathLst>
            </a:custGeom>
            <a:solidFill>
              <a:srgbClr val="1B36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" name="Freeform: Shape 13">
              <a:extLst>
                <a:ext uri="{FF2B5EF4-FFF2-40B4-BE49-F238E27FC236}">
                  <a16:creationId xmlns:a16="http://schemas.microsoft.com/office/drawing/2014/main" id="{5F2A13B5-8902-1149-AA27-F9455B39BC24}"/>
                </a:ext>
              </a:extLst>
            </p:cNvPr>
            <p:cNvSpPr/>
            <p:nvPr/>
          </p:nvSpPr>
          <p:spPr>
            <a:xfrm>
              <a:off x="7630287" y="6446519"/>
              <a:ext cx="2909411" cy="411480"/>
            </a:xfrm>
            <a:custGeom>
              <a:avLst/>
              <a:gdLst>
                <a:gd name="connsiteX0" fmla="*/ 2909411 w 2909411"/>
                <a:gd name="connsiteY0" fmla="*/ 0 h 411480"/>
                <a:gd name="connsiteX1" fmla="*/ 411480 w 2909411"/>
                <a:gd name="connsiteY1" fmla="*/ 0 h 411480"/>
                <a:gd name="connsiteX2" fmla="*/ 0 w 2909411"/>
                <a:gd name="connsiteY2" fmla="*/ 411480 h 411480"/>
                <a:gd name="connsiteX3" fmla="*/ 2497931 w 2909411"/>
                <a:gd name="connsiteY3" fmla="*/ 411480 h 411480"/>
                <a:gd name="connsiteX4" fmla="*/ 2909411 w 2909411"/>
                <a:gd name="connsiteY4" fmla="*/ 0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411" h="411480">
                  <a:moveTo>
                    <a:pt x="2909411" y="0"/>
                  </a:moveTo>
                  <a:lnTo>
                    <a:pt x="411480" y="0"/>
                  </a:lnTo>
                  <a:lnTo>
                    <a:pt x="0" y="411480"/>
                  </a:lnTo>
                  <a:lnTo>
                    <a:pt x="2497931" y="411480"/>
                  </a:lnTo>
                  <a:lnTo>
                    <a:pt x="2909411" y="0"/>
                  </a:lnTo>
                  <a:close/>
                </a:path>
              </a:pathLst>
            </a:custGeom>
            <a:solidFill>
              <a:srgbClr val="4069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8C93D706-8022-AC4B-92F3-6BE4DF2EEFD6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rcRect l="11064" t="25850" r="11371" b="26766"/>
          <a:stretch/>
        </p:blipFill>
        <p:spPr>
          <a:xfrm>
            <a:off x="349219" y="4908712"/>
            <a:ext cx="648903" cy="157649"/>
          </a:xfrm>
          <a:prstGeom prst="rect">
            <a:avLst/>
          </a:prstGeom>
        </p:spPr>
      </p:pic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6F59C29E-E0FB-834F-B1EC-73B33E48D70B}"/>
              </a:ext>
            </a:extLst>
          </p:cNvPr>
          <p:cNvSpPr txBox="1">
            <a:spLocks/>
          </p:cNvSpPr>
          <p:nvPr/>
        </p:nvSpPr>
        <p:spPr>
          <a:xfrm>
            <a:off x="7086600" y="4852272"/>
            <a:ext cx="1428750" cy="2738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AD6506C-AF03-0A40-A692-5038DCB56F2B}" type="slidenum">
              <a:rPr lang="en-US" sz="900" b="0" i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900" b="0" i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MSIPCMContentMarking" descr="{&quot;HashCode&quot;:-86794880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EA559C40-8B79-343E-681F-1E078A98C0D4}"/>
              </a:ext>
            </a:extLst>
          </p:cNvPr>
          <p:cNvSpPr txBox="1"/>
          <p:nvPr/>
        </p:nvSpPr>
        <p:spPr>
          <a:xfrm>
            <a:off x="0" y="4987413"/>
            <a:ext cx="435845" cy="1154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GB" sz="750">
                <a:solidFill>
                  <a:srgbClr val="000000"/>
                </a:solidFill>
                <a:latin typeface="Calibri" panose="020F0502020204030204" pitchFamily="34" charset="0"/>
                <a:cs typeface="72" panose="020B0503030000000003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833094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  <p:sldLayoutId id="2147483693" r:id="rId43"/>
    <p:sldLayoutId id="2147483694" r:id="rId44"/>
    <p:sldLayoutId id="2147483695" r:id="rId45"/>
    <p:sldLayoutId id="2147483696" r:id="rId46"/>
    <p:sldLayoutId id="2147483697" r:id="rId47"/>
    <p:sldLayoutId id="2147483698" r:id="rId48"/>
    <p:sldLayoutId id="2147483699" r:id="rId49"/>
    <p:sldLayoutId id="2147483700" r:id="rId50"/>
    <p:sldLayoutId id="2147483701" r:id="rId51"/>
    <p:sldLayoutId id="2147483702" r:id="rId52"/>
    <p:sldLayoutId id="2147483703" r:id="rId53"/>
    <p:sldLayoutId id="2147483704" r:id="rId54"/>
    <p:sldLayoutId id="2147483705" r:id="rId55"/>
    <p:sldLayoutId id="2147483706" r:id="rId56"/>
    <p:sldLayoutId id="2147483707" r:id="rId57"/>
    <p:sldLayoutId id="2147483708" r:id="rId58"/>
    <p:sldLayoutId id="2147483709" r:id="rId59"/>
    <p:sldLayoutId id="2147483710" r:id="rId60"/>
    <p:sldLayoutId id="2147483711" r:id="rId61"/>
    <p:sldLayoutId id="2147483712" r:id="rId62"/>
    <p:sldLayoutId id="2147483713" r:id="rId6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accent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b="0" i="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b="0" i="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35">
          <p15:clr>
            <a:srgbClr val="F26B43"/>
          </p15:clr>
        </p15:guide>
        <p15:guide id="3" pos="3840">
          <p15:clr>
            <a:srgbClr val="A4A3A4"/>
          </p15:clr>
        </p15:guide>
        <p15:guide id="4" pos="411">
          <p15:clr>
            <a:srgbClr val="F26B43"/>
          </p15:clr>
        </p15:guide>
        <p15:guide id="5" pos="7267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E7050FA-ED79-4ED6-0ABE-C8E2B8439F5D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71931"/>
            <a:ext cx="9147600" cy="271569"/>
          </a:xfrm>
          <a:prstGeom prst="rect">
            <a:avLst/>
          </a:prstGeom>
        </p:spPr>
      </p:pic>
      <p:grpSp>
        <p:nvGrpSpPr>
          <p:cNvPr id="13" name="Group 12" hidden="1">
            <a:extLst>
              <a:ext uri="{FF2B5EF4-FFF2-40B4-BE49-F238E27FC236}">
                <a16:creationId xmlns:a16="http://schemas.microsoft.com/office/drawing/2014/main" id="{B49CC672-C64F-47FA-92E7-3CA95B9FFBCC}"/>
              </a:ext>
            </a:extLst>
          </p:cNvPr>
          <p:cNvGrpSpPr/>
          <p:nvPr/>
        </p:nvGrpSpPr>
        <p:grpSpPr>
          <a:xfrm>
            <a:off x="3107730" y="-287397"/>
            <a:ext cx="2919479" cy="288538"/>
            <a:chOff x="4143639" y="-383196"/>
            <a:chExt cx="3892639" cy="38471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5ABD84C-1053-4903-99C6-DB42A37EC3AD}"/>
                </a:ext>
              </a:extLst>
            </p:cNvPr>
            <p:cNvSpPr/>
            <p:nvPr userDrawn="1"/>
          </p:nvSpPr>
          <p:spPr>
            <a:xfrm>
              <a:off x="4143639" y="-383196"/>
              <a:ext cx="199707" cy="3847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C5CE6E5-A6B5-45C3-BF37-C51129ED31F2}"/>
                </a:ext>
              </a:extLst>
            </p:cNvPr>
            <p:cNvSpPr/>
            <p:nvPr userDrawn="1"/>
          </p:nvSpPr>
          <p:spPr>
            <a:xfrm>
              <a:off x="5264238" y="-383196"/>
              <a:ext cx="199707" cy="3847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C80C763-ED8A-4014-80B4-53844DAE4571}"/>
                </a:ext>
              </a:extLst>
            </p:cNvPr>
            <p:cNvSpPr/>
            <p:nvPr userDrawn="1"/>
          </p:nvSpPr>
          <p:spPr>
            <a:xfrm>
              <a:off x="5994398" y="-383196"/>
              <a:ext cx="199707" cy="3847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C7C2FBF-BFD0-45A0-B380-74B05AFC2538}"/>
                </a:ext>
              </a:extLst>
            </p:cNvPr>
            <p:cNvSpPr/>
            <p:nvPr userDrawn="1"/>
          </p:nvSpPr>
          <p:spPr>
            <a:xfrm>
              <a:off x="6730937" y="-383196"/>
              <a:ext cx="199707" cy="3847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9482447-E03F-4041-99E7-672360BB900B}"/>
                </a:ext>
              </a:extLst>
            </p:cNvPr>
            <p:cNvSpPr/>
            <p:nvPr userDrawn="1"/>
          </p:nvSpPr>
          <p:spPr>
            <a:xfrm>
              <a:off x="7836571" y="-383196"/>
              <a:ext cx="199707" cy="3847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B8FEC4-229F-4ABD-A99D-F43B745A9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151598"/>
            <a:ext cx="8158163" cy="5358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69EAB-0ED6-424B-82E0-E3807DAE9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348" y="971550"/>
            <a:ext cx="8158162" cy="3713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43DB56-6734-4844-934F-ABB4E80102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1"/>
            <a:ext cx="2057400" cy="146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712061-5B3B-4D83-B4CE-40429F6CC7E7}" type="datetime1">
              <a:rPr lang="en-US" smtClean="0"/>
              <a:t>7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DBFE2-706E-4B75-8B72-1A1D8087D4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4568429" y="4929416"/>
            <a:ext cx="4008863" cy="156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C9DDA-931A-4383-A30D-B2F78CD3D1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8697951" y="4929416"/>
            <a:ext cx="379587" cy="1566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9A6DF378-5204-D941-9CFD-DB2DB0DA17C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5D97B64-3446-CF75-6D19-EEDB7A243F9B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rcRect l="11064" t="25850" r="11371" b="26766"/>
          <a:stretch/>
        </p:blipFill>
        <p:spPr>
          <a:xfrm>
            <a:off x="305526" y="4928892"/>
            <a:ext cx="648903" cy="15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64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  <p:sldLayoutId id="2147483753" r:id="rId39"/>
    <p:sldLayoutId id="2147483754" r:id="rId40"/>
    <p:sldLayoutId id="2147483755" r:id="rId41"/>
    <p:sldLayoutId id="2147483756" r:id="rId42"/>
    <p:sldLayoutId id="2147483757" r:id="rId43"/>
    <p:sldLayoutId id="2147483758" r:id="rId44"/>
    <p:sldLayoutId id="2147483759" r:id="rId45"/>
    <p:sldLayoutId id="2147483760" r:id="rId46"/>
    <p:sldLayoutId id="2147483761" r:id="rId47"/>
    <p:sldLayoutId id="2147483762" r:id="rId48"/>
    <p:sldLayoutId id="2147483763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350" kern="1200">
          <a:solidFill>
            <a:schemeClr val="tx2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5">
          <p15:clr>
            <a:srgbClr val="F26B43"/>
          </p15:clr>
        </p15:guide>
        <p15:guide id="2" pos="3840">
          <p15:clr>
            <a:srgbClr val="A4A3A4"/>
          </p15:clr>
        </p15:guide>
        <p15:guide id="3" pos="411">
          <p15:clr>
            <a:srgbClr val="F26B43"/>
          </p15:clr>
        </p15:guide>
        <p15:guide id="4" pos="7267">
          <p15:clr>
            <a:srgbClr val="F26B43"/>
          </p15:clr>
        </p15:guide>
        <p15:guide id="5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04C6E-1435-A1EA-83B4-B1FC3C2001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era 2026.2 Enabl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B88522-B546-E8CA-F7F1-108E3BA559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Vera Public API</a:t>
            </a:r>
          </a:p>
        </p:txBody>
      </p:sp>
    </p:spTree>
    <p:extLst>
      <p:ext uri="{BB962C8B-B14F-4D97-AF65-F5344CB8AC3E}">
        <p14:creationId xmlns:p14="http://schemas.microsoft.com/office/powerpoint/2010/main" val="351972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8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320040" y="645305"/>
            <a:ext cx="850392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the complete audit trail for a record — every status transition, who performed it, when it occurred, and what changed.</a:t>
            </a:r>
            <a:endParaRPr lang="en-US" sz="1150" dirty="0"/>
          </a:p>
        </p:txBody>
      </p:sp>
      <p:sp>
        <p:nvSpPr>
          <p:cNvPr id="6" name="Shape 4"/>
          <p:cNvSpPr/>
          <p:nvPr/>
        </p:nvSpPr>
        <p:spPr>
          <a:xfrm>
            <a:off x="320040" y="1038497"/>
            <a:ext cx="8503920" cy="43891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457200" y="1148225"/>
            <a:ext cx="658368" cy="237744"/>
          </a:xfrm>
          <a:prstGeom prst="roundRect">
            <a:avLst>
              <a:gd name="adj" fmla="val 2307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6"/>
          <p:cNvSpPr/>
          <p:nvPr/>
        </p:nvSpPr>
        <p:spPr>
          <a:xfrm>
            <a:off x="457200" y="1148225"/>
            <a:ext cx="658368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800" dirty="0"/>
          </a:p>
        </p:txBody>
      </p:sp>
      <p:sp>
        <p:nvSpPr>
          <p:cNvPr id="9" name="Text 7"/>
          <p:cNvSpPr/>
          <p:nvPr/>
        </p:nvSpPr>
        <p:spPr>
          <a:xfrm>
            <a:off x="1188720" y="1093361"/>
            <a:ext cx="74066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5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{recordId}/history</a:t>
            </a:r>
            <a:endParaRPr lang="en-US" sz="1250" dirty="0"/>
          </a:p>
        </p:txBody>
      </p:sp>
      <p:sp>
        <p:nvSpPr>
          <p:cNvPr id="12" name="Shape 10"/>
          <p:cNvSpPr/>
          <p:nvPr/>
        </p:nvSpPr>
        <p:spPr>
          <a:xfrm>
            <a:off x="320040" y="2730133"/>
            <a:ext cx="48463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3" name="Text 11"/>
          <p:cNvSpPr/>
          <p:nvPr/>
        </p:nvSpPr>
        <p:spPr>
          <a:xfrm>
            <a:off x="457200" y="2794141"/>
            <a:ext cx="45720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it returns</a:t>
            </a:r>
            <a:endParaRPr lang="en-US" sz="1100" dirty="0"/>
          </a:p>
        </p:txBody>
      </p:sp>
      <p:sp>
        <p:nvSpPr>
          <p:cNvPr id="14" name="Shape 12"/>
          <p:cNvSpPr/>
          <p:nvPr/>
        </p:nvSpPr>
        <p:spPr>
          <a:xfrm>
            <a:off x="438912" y="3196477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5" name="Text 13"/>
          <p:cNvSpPr/>
          <p:nvPr/>
        </p:nvSpPr>
        <p:spPr>
          <a:xfrm>
            <a:off x="621792" y="3114181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very status transition</a:t>
            </a:r>
            <a:endParaRPr lang="en-US" sz="950" dirty="0"/>
          </a:p>
        </p:txBody>
      </p:sp>
      <p:sp>
        <p:nvSpPr>
          <p:cNvPr id="16" name="Text 14"/>
          <p:cNvSpPr/>
          <p:nvPr/>
        </p:nvSpPr>
        <p:spPr>
          <a:xfrm>
            <a:off x="621792" y="3306205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ach time the record moved between workflow states — e.g. Draft → Routing for Approval → Rejected.</a:t>
            </a:r>
            <a:endParaRPr lang="en-US" sz="900" dirty="0"/>
          </a:p>
        </p:txBody>
      </p:sp>
      <p:sp>
        <p:nvSpPr>
          <p:cNvPr id="17" name="Shape 15"/>
          <p:cNvSpPr/>
          <p:nvPr/>
        </p:nvSpPr>
        <p:spPr>
          <a:xfrm>
            <a:off x="438912" y="3598813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621792" y="3516517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o acted and when</a:t>
            </a:r>
            <a:endParaRPr lang="en-US" sz="950" dirty="0"/>
          </a:p>
        </p:txBody>
      </p:sp>
      <p:sp>
        <p:nvSpPr>
          <p:cNvPr id="19" name="Text 17"/>
          <p:cNvSpPr/>
          <p:nvPr/>
        </p:nvSpPr>
        <p:spPr>
          <a:xfrm>
            <a:off x="621792" y="3708541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rId, userFullName, and a precise timestamp for each history entry.</a:t>
            </a:r>
            <a:endParaRPr lang="en-US" sz="900" dirty="0"/>
          </a:p>
        </p:txBody>
      </p:sp>
      <p:sp>
        <p:nvSpPr>
          <p:cNvPr id="20" name="Shape 18"/>
          <p:cNvSpPr/>
          <p:nvPr/>
        </p:nvSpPr>
        <p:spPr>
          <a:xfrm>
            <a:off x="438912" y="4001149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1" name="Text 19"/>
          <p:cNvSpPr/>
          <p:nvPr/>
        </p:nvSpPr>
        <p:spPr>
          <a:xfrm>
            <a:off x="621792" y="3918853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snapshot</a:t>
            </a:r>
            <a:endParaRPr lang="en-US" sz="950" dirty="0"/>
          </a:p>
        </p:txBody>
      </p:sp>
      <p:sp>
        <p:nvSpPr>
          <p:cNvPr id="22" name="Text 20"/>
          <p:cNvSpPr/>
          <p:nvPr/>
        </p:nvSpPr>
        <p:spPr>
          <a:xfrm>
            <a:off x="621792" y="4110877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eld values captured at the time of the transition — status, type, revision, priority.</a:t>
            </a:r>
            <a:endParaRPr lang="en-US" sz="900" dirty="0"/>
          </a:p>
        </p:txBody>
      </p:sp>
      <p:sp>
        <p:nvSpPr>
          <p:cNvPr id="23" name="Shape 21"/>
          <p:cNvSpPr/>
          <p:nvPr/>
        </p:nvSpPr>
        <p:spPr>
          <a:xfrm>
            <a:off x="438912" y="4403485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4" name="Text 22"/>
          <p:cNvSpPr/>
          <p:nvPr/>
        </p:nvSpPr>
        <p:spPr>
          <a:xfrm>
            <a:off x="621792" y="4321189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ransition path</a:t>
            </a:r>
            <a:endParaRPr lang="en-US" sz="950" dirty="0"/>
          </a:p>
        </p:txBody>
      </p:sp>
      <p:sp>
        <p:nvSpPr>
          <p:cNvPr id="25" name="Text 23"/>
          <p:cNvSpPr/>
          <p:nvPr/>
        </p:nvSpPr>
        <p:spPr>
          <a:xfrm>
            <a:off x="621792" y="4513213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tails[].From and details[].To show exactly what changed at each step.</a:t>
            </a:r>
            <a:endParaRPr lang="en-US" sz="900" dirty="0"/>
          </a:p>
        </p:txBody>
      </p:sp>
      <p:sp>
        <p:nvSpPr>
          <p:cNvPr id="26" name="Shape 24"/>
          <p:cNvSpPr/>
          <p:nvPr/>
        </p:nvSpPr>
        <p:spPr>
          <a:xfrm>
            <a:off x="5349240" y="2730133"/>
            <a:ext cx="34747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7" name="Text 25"/>
          <p:cNvSpPr/>
          <p:nvPr/>
        </p:nvSpPr>
        <p:spPr>
          <a:xfrm>
            <a:off x="5486400" y="2794141"/>
            <a:ext cx="32004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100" dirty="0"/>
          </a:p>
        </p:txBody>
      </p:sp>
      <p:sp>
        <p:nvSpPr>
          <p:cNvPr id="28" name="Text 26"/>
          <p:cNvSpPr/>
          <p:nvPr/>
        </p:nvSpPr>
        <p:spPr>
          <a:xfrm>
            <a:off x="5486400" y="3123325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name</a:t>
            </a:r>
            <a:endParaRPr lang="en-US" sz="850" dirty="0"/>
          </a:p>
        </p:txBody>
      </p:sp>
      <p:sp>
        <p:nvSpPr>
          <p:cNvPr id="29" name="Text 27"/>
          <p:cNvSpPr/>
          <p:nvPr/>
        </p:nvSpPr>
        <p:spPr>
          <a:xfrm>
            <a:off x="7077456" y="3123325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ction label (e.g. Transition to Rejected)</a:t>
            </a:r>
            <a:endParaRPr lang="en-US" sz="850" dirty="0"/>
          </a:p>
        </p:txBody>
      </p:sp>
      <p:sp>
        <p:nvSpPr>
          <p:cNvPr id="30" name="Text 28"/>
          <p:cNvSpPr/>
          <p:nvPr/>
        </p:nvSpPr>
        <p:spPr>
          <a:xfrm>
            <a:off x="5486400" y="3333637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850" dirty="0"/>
          </a:p>
        </p:txBody>
      </p:sp>
      <p:sp>
        <p:nvSpPr>
          <p:cNvPr id="31" name="Text 29"/>
          <p:cNvSpPr/>
          <p:nvPr/>
        </p:nvSpPr>
        <p:spPr>
          <a:xfrm>
            <a:off x="7077456" y="3333637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en the action occurred</a:t>
            </a:r>
            <a:endParaRPr lang="en-US" sz="850" dirty="0"/>
          </a:p>
        </p:txBody>
      </p:sp>
      <p:sp>
        <p:nvSpPr>
          <p:cNvPr id="32" name="Text 30"/>
          <p:cNvSpPr/>
          <p:nvPr/>
        </p:nvSpPr>
        <p:spPr>
          <a:xfrm>
            <a:off x="5486400" y="3543949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userId</a:t>
            </a:r>
            <a:endParaRPr lang="en-US" sz="850" dirty="0"/>
          </a:p>
        </p:txBody>
      </p:sp>
      <p:sp>
        <p:nvSpPr>
          <p:cNvPr id="33" name="Text 31"/>
          <p:cNvSpPr/>
          <p:nvPr/>
        </p:nvSpPr>
        <p:spPr>
          <a:xfrm>
            <a:off x="7077456" y="3543949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r ID who acted</a:t>
            </a:r>
            <a:endParaRPr lang="en-US" sz="850" dirty="0"/>
          </a:p>
        </p:txBody>
      </p:sp>
      <p:sp>
        <p:nvSpPr>
          <p:cNvPr id="34" name="Text 32"/>
          <p:cNvSpPr/>
          <p:nvPr/>
        </p:nvSpPr>
        <p:spPr>
          <a:xfrm>
            <a:off x="5486400" y="3754261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userFullName</a:t>
            </a:r>
            <a:endParaRPr lang="en-US" sz="850" dirty="0"/>
          </a:p>
        </p:txBody>
      </p:sp>
      <p:sp>
        <p:nvSpPr>
          <p:cNvPr id="35" name="Text 33"/>
          <p:cNvSpPr/>
          <p:nvPr/>
        </p:nvSpPr>
        <p:spPr>
          <a:xfrm>
            <a:off x="7077456" y="3754261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ull display name</a:t>
            </a:r>
            <a:endParaRPr lang="en-US" sz="850" dirty="0"/>
          </a:p>
        </p:txBody>
      </p:sp>
      <p:sp>
        <p:nvSpPr>
          <p:cNvPr id="36" name="Text 34"/>
          <p:cNvSpPr/>
          <p:nvPr/>
        </p:nvSpPr>
        <p:spPr>
          <a:xfrm>
            <a:off x="5486400" y="3964573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etails[].From</a:t>
            </a:r>
            <a:endParaRPr lang="en-US" sz="850" dirty="0"/>
          </a:p>
        </p:txBody>
      </p:sp>
      <p:sp>
        <p:nvSpPr>
          <p:cNvPr id="37" name="Text 35"/>
          <p:cNvSpPr/>
          <p:nvPr/>
        </p:nvSpPr>
        <p:spPr>
          <a:xfrm>
            <a:off x="7077456" y="3964573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ior workflow status</a:t>
            </a:r>
            <a:endParaRPr lang="en-US" sz="850" dirty="0"/>
          </a:p>
        </p:txBody>
      </p:sp>
      <p:sp>
        <p:nvSpPr>
          <p:cNvPr id="38" name="Text 36"/>
          <p:cNvSpPr/>
          <p:nvPr/>
        </p:nvSpPr>
        <p:spPr>
          <a:xfrm>
            <a:off x="5486400" y="4174885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etails[].To</a:t>
            </a:r>
            <a:endParaRPr lang="en-US" sz="850" dirty="0"/>
          </a:p>
        </p:txBody>
      </p:sp>
      <p:sp>
        <p:nvSpPr>
          <p:cNvPr id="39" name="Text 37"/>
          <p:cNvSpPr/>
          <p:nvPr/>
        </p:nvSpPr>
        <p:spPr>
          <a:xfrm>
            <a:off x="7077456" y="4174885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w workflow status</a:t>
            </a:r>
            <a:endParaRPr lang="en-US" sz="850" dirty="0"/>
          </a:p>
        </p:txBody>
      </p:sp>
      <p:sp>
        <p:nvSpPr>
          <p:cNvPr id="40" name="Text 38"/>
          <p:cNvSpPr/>
          <p:nvPr/>
        </p:nvSpPr>
        <p:spPr>
          <a:xfrm>
            <a:off x="5486400" y="4385197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Version</a:t>
            </a:r>
            <a:endParaRPr lang="en-US" sz="850" dirty="0"/>
          </a:p>
        </p:txBody>
      </p:sp>
      <p:sp>
        <p:nvSpPr>
          <p:cNvPr id="41" name="Text 39"/>
          <p:cNvSpPr/>
          <p:nvPr/>
        </p:nvSpPr>
        <p:spPr>
          <a:xfrm>
            <a:off x="7077456" y="4385197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version at time of action</a:t>
            </a:r>
            <a:endParaRPr lang="en-US" sz="850" dirty="0"/>
          </a:p>
        </p:txBody>
      </p:sp>
      <p:sp>
        <p:nvSpPr>
          <p:cNvPr id="42" name="Text 40"/>
          <p:cNvSpPr/>
          <p:nvPr/>
        </p:nvSpPr>
        <p:spPr>
          <a:xfrm>
            <a:off x="5486400" y="4595509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parent</a:t>
            </a:r>
            <a:endParaRPr lang="en-US" sz="850" dirty="0"/>
          </a:p>
        </p:txBody>
      </p:sp>
      <p:sp>
        <p:nvSpPr>
          <p:cNvPr id="43" name="Text 41"/>
          <p:cNvSpPr/>
          <p:nvPr/>
        </p:nvSpPr>
        <p:spPr>
          <a:xfrm>
            <a:off x="7077456" y="4595509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nks to the preceding history entry</a:t>
            </a:r>
            <a:endParaRPr lang="en-US" sz="850" dirty="0"/>
          </a:p>
        </p:txBody>
      </p:sp>
      <p:sp>
        <p:nvSpPr>
          <p:cNvPr id="46" name="Shape 63">
            <a:extLst>
              <a:ext uri="{FF2B5EF4-FFF2-40B4-BE49-F238E27FC236}">
                <a16:creationId xmlns:a16="http://schemas.microsoft.com/office/drawing/2014/main" id="{64B167FA-A0BA-ED12-00A4-7B3AC80CEFBB}"/>
              </a:ext>
            </a:extLst>
          </p:cNvPr>
          <p:cNvSpPr/>
          <p:nvPr/>
        </p:nvSpPr>
        <p:spPr>
          <a:xfrm>
            <a:off x="320040" y="1530963"/>
            <a:ext cx="4160520" cy="1126018"/>
          </a:xfrm>
          <a:prstGeom prst="roundRect">
            <a:avLst>
              <a:gd name="adj" fmla="val 1111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47" name="Text 64">
            <a:extLst>
              <a:ext uri="{FF2B5EF4-FFF2-40B4-BE49-F238E27FC236}">
                <a16:creationId xmlns:a16="http://schemas.microsoft.com/office/drawing/2014/main" id="{BEDAFAF5-451D-A134-CDAD-DC3C33E4BFE3}"/>
              </a:ext>
            </a:extLst>
          </p:cNvPr>
          <p:cNvSpPr/>
          <p:nvPr/>
        </p:nvSpPr>
        <p:spPr>
          <a:xfrm>
            <a:off x="457200" y="1585827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quest</a:t>
            </a:r>
            <a:endParaRPr lang="en-US" sz="950" dirty="0"/>
          </a:p>
        </p:txBody>
      </p:sp>
      <p:sp>
        <p:nvSpPr>
          <p:cNvPr id="48" name="Shape 65">
            <a:extLst>
              <a:ext uri="{FF2B5EF4-FFF2-40B4-BE49-F238E27FC236}">
                <a16:creationId xmlns:a16="http://schemas.microsoft.com/office/drawing/2014/main" id="{86309BF4-4FCA-65B4-F475-637803B6B5DA}"/>
              </a:ext>
            </a:extLst>
          </p:cNvPr>
          <p:cNvSpPr/>
          <p:nvPr/>
        </p:nvSpPr>
        <p:spPr>
          <a:xfrm>
            <a:off x="457200" y="1782655"/>
            <a:ext cx="3913632" cy="801174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9" name="Text 66">
            <a:extLst>
              <a:ext uri="{FF2B5EF4-FFF2-40B4-BE49-F238E27FC236}">
                <a16:creationId xmlns:a16="http://schemas.microsoft.com/office/drawing/2014/main" id="{8954F815-570E-A404-AB02-A2E1C64EB638}"/>
              </a:ext>
            </a:extLst>
          </p:cNvPr>
          <p:cNvSpPr/>
          <p:nvPr/>
        </p:nvSpPr>
        <p:spPr>
          <a:xfrm>
            <a:off x="566928" y="1855807"/>
            <a:ext cx="3694176" cy="5260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GET 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v1/records/baa82d46-888c-4267-a50b-7d8d9b/history</a:t>
            </a:r>
            <a:endParaRPr lang="en-US" sz="800" dirty="0"/>
          </a:p>
        </p:txBody>
      </p:sp>
      <p:sp>
        <p:nvSpPr>
          <p:cNvPr id="55" name="Shape 63">
            <a:extLst>
              <a:ext uri="{FF2B5EF4-FFF2-40B4-BE49-F238E27FC236}">
                <a16:creationId xmlns:a16="http://schemas.microsoft.com/office/drawing/2014/main" id="{4A7C4DEE-A202-BFB7-8CC2-FD9216733F1C}"/>
              </a:ext>
            </a:extLst>
          </p:cNvPr>
          <p:cNvSpPr/>
          <p:nvPr/>
        </p:nvSpPr>
        <p:spPr>
          <a:xfrm>
            <a:off x="4663442" y="1540107"/>
            <a:ext cx="4160520" cy="1126018"/>
          </a:xfrm>
          <a:prstGeom prst="roundRect">
            <a:avLst>
              <a:gd name="adj" fmla="val 1111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6" name="Text 64">
            <a:extLst>
              <a:ext uri="{FF2B5EF4-FFF2-40B4-BE49-F238E27FC236}">
                <a16:creationId xmlns:a16="http://schemas.microsoft.com/office/drawing/2014/main" id="{7BBACF68-34F1-B393-04B2-4D37A602015E}"/>
              </a:ext>
            </a:extLst>
          </p:cNvPr>
          <p:cNvSpPr/>
          <p:nvPr/>
        </p:nvSpPr>
        <p:spPr>
          <a:xfrm>
            <a:off x="4800602" y="1588480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sponse</a:t>
            </a:r>
            <a:endParaRPr lang="en-US" sz="950" dirty="0"/>
          </a:p>
        </p:txBody>
      </p:sp>
      <p:sp>
        <p:nvSpPr>
          <p:cNvPr id="57" name="Shape 65">
            <a:extLst>
              <a:ext uri="{FF2B5EF4-FFF2-40B4-BE49-F238E27FC236}">
                <a16:creationId xmlns:a16="http://schemas.microsoft.com/office/drawing/2014/main" id="{29AFC1E5-A60E-17C6-65B6-DC7A7FCA4EFA}"/>
              </a:ext>
            </a:extLst>
          </p:cNvPr>
          <p:cNvSpPr/>
          <p:nvPr/>
        </p:nvSpPr>
        <p:spPr>
          <a:xfrm>
            <a:off x="4800602" y="1791799"/>
            <a:ext cx="3913632" cy="801174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58" name="Text 66">
            <a:extLst>
              <a:ext uri="{FF2B5EF4-FFF2-40B4-BE49-F238E27FC236}">
                <a16:creationId xmlns:a16="http://schemas.microsoft.com/office/drawing/2014/main" id="{A04D192C-1B34-497E-62EE-5AE947825607}"/>
              </a:ext>
            </a:extLst>
          </p:cNvPr>
          <p:cNvSpPr/>
          <p:nvPr/>
        </p:nvSpPr>
        <p:spPr>
          <a:xfrm>
            <a:off x="4910330" y="1864951"/>
            <a:ext cx="3694176" cy="5260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endParaRPr lang="en-US" sz="800" dirty="0"/>
          </a:p>
        </p:txBody>
      </p:sp>
      <p:sp>
        <p:nvSpPr>
          <p:cNvPr id="59" name="Text 66">
            <a:extLst>
              <a:ext uri="{FF2B5EF4-FFF2-40B4-BE49-F238E27FC236}">
                <a16:creationId xmlns:a16="http://schemas.microsoft.com/office/drawing/2014/main" id="{5F0D6383-4EAB-4026-A907-7879E4571E8F}"/>
              </a:ext>
            </a:extLst>
          </p:cNvPr>
          <p:cNvSpPr/>
          <p:nvPr/>
        </p:nvSpPr>
        <p:spPr>
          <a:xfrm>
            <a:off x="4873754" y="1857980"/>
            <a:ext cx="3694176" cy="61612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{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_id": "1A8B534C4C32AE149AA619E6536CB86D6724AA02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name": "Transition to Approved (Revision 1)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timestamp": "2026-06-17 21:22:26 +00:00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Id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: "baa82d46-888c-4267-a50b-7d8d9b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userId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: “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jsmith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,…</a:t>
            </a:r>
            <a:endParaRPr lang="en-US" sz="800" dirty="0"/>
          </a:p>
        </p:txBody>
      </p:sp>
      <p:sp>
        <p:nvSpPr>
          <p:cNvPr id="60" name="Title 59">
            <a:extLst>
              <a:ext uri="{FF2B5EF4-FFF2-40B4-BE49-F238E27FC236}">
                <a16:creationId xmlns:a16="http://schemas.microsoft.com/office/drawing/2014/main" id="{AFA51411-7BDF-27B8-33DE-9D1875BBB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rd History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9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320040" y="651840"/>
            <a:ext cx="850392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the full approval route for a record — who approved it, at what level, their signature ID, and verification status.</a:t>
            </a:r>
            <a:endParaRPr lang="en-US" sz="1150" dirty="0"/>
          </a:p>
        </p:txBody>
      </p:sp>
      <p:sp>
        <p:nvSpPr>
          <p:cNvPr id="6" name="Shape 4"/>
          <p:cNvSpPr/>
          <p:nvPr/>
        </p:nvSpPr>
        <p:spPr>
          <a:xfrm>
            <a:off x="320040" y="1045032"/>
            <a:ext cx="8503920" cy="43891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457200" y="1154760"/>
            <a:ext cx="658368" cy="237744"/>
          </a:xfrm>
          <a:prstGeom prst="roundRect">
            <a:avLst>
              <a:gd name="adj" fmla="val 2307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6"/>
          <p:cNvSpPr/>
          <p:nvPr/>
        </p:nvSpPr>
        <p:spPr>
          <a:xfrm>
            <a:off x="457200" y="1154760"/>
            <a:ext cx="658368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800" dirty="0"/>
          </a:p>
        </p:txBody>
      </p:sp>
      <p:sp>
        <p:nvSpPr>
          <p:cNvPr id="9" name="Text 7"/>
          <p:cNvSpPr/>
          <p:nvPr/>
        </p:nvSpPr>
        <p:spPr>
          <a:xfrm>
            <a:off x="1188720" y="1099896"/>
            <a:ext cx="74066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5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outes?recordId={recordId}</a:t>
            </a:r>
            <a:endParaRPr lang="en-US" sz="1250" dirty="0"/>
          </a:p>
        </p:txBody>
      </p:sp>
      <p:sp>
        <p:nvSpPr>
          <p:cNvPr id="12" name="Shape 10"/>
          <p:cNvSpPr/>
          <p:nvPr/>
        </p:nvSpPr>
        <p:spPr>
          <a:xfrm>
            <a:off x="320040" y="2743200"/>
            <a:ext cx="48463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3" name="Text 11"/>
          <p:cNvSpPr/>
          <p:nvPr/>
        </p:nvSpPr>
        <p:spPr>
          <a:xfrm>
            <a:off x="457200" y="2807208"/>
            <a:ext cx="45720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it returns</a:t>
            </a:r>
            <a:endParaRPr lang="en-US" sz="1100" dirty="0"/>
          </a:p>
        </p:txBody>
      </p:sp>
      <p:sp>
        <p:nvSpPr>
          <p:cNvPr id="14" name="Shape 12"/>
          <p:cNvSpPr/>
          <p:nvPr/>
        </p:nvSpPr>
        <p:spPr>
          <a:xfrm>
            <a:off x="438912" y="3209544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5" name="Text 13"/>
          <p:cNvSpPr/>
          <p:nvPr/>
        </p:nvSpPr>
        <p:spPr>
          <a:xfrm>
            <a:off x="621792" y="3127248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ute status &amp; type</a:t>
            </a:r>
            <a:endParaRPr lang="en-US" sz="950" dirty="0"/>
          </a:p>
        </p:txBody>
      </p:sp>
      <p:sp>
        <p:nvSpPr>
          <p:cNvPr id="16" name="Text 14"/>
          <p:cNvSpPr/>
          <p:nvPr/>
        </p:nvSpPr>
        <p:spPr>
          <a:xfrm>
            <a:off x="621792" y="3319272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verall route status (Complete, Pending) and whether e-signatures are required (signaturesRequired: true).</a:t>
            </a:r>
            <a:endParaRPr lang="en-US" sz="900" dirty="0"/>
          </a:p>
        </p:txBody>
      </p:sp>
      <p:sp>
        <p:nvSpPr>
          <p:cNvPr id="17" name="Shape 15"/>
          <p:cNvSpPr/>
          <p:nvPr/>
        </p:nvSpPr>
        <p:spPr>
          <a:xfrm>
            <a:off x="438912" y="3611880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621792" y="3568770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ask groups &amp; levels</a:t>
            </a:r>
            <a:endParaRPr lang="en-US" sz="950" dirty="0"/>
          </a:p>
        </p:txBody>
      </p:sp>
      <p:sp>
        <p:nvSpPr>
          <p:cNvPr id="19" name="Text 17"/>
          <p:cNvSpPr/>
          <p:nvPr/>
        </p:nvSpPr>
        <p:spPr>
          <a:xfrm>
            <a:off x="621792" y="3721608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rdered approval levels (e.g. Level 1), each containing tasks with assignee, role, and meaning.</a:t>
            </a:r>
            <a:endParaRPr lang="en-US" sz="900" dirty="0"/>
          </a:p>
        </p:txBody>
      </p:sp>
      <p:sp>
        <p:nvSpPr>
          <p:cNvPr id="20" name="Shape 18"/>
          <p:cNvSpPr/>
          <p:nvPr/>
        </p:nvSpPr>
        <p:spPr>
          <a:xfrm>
            <a:off x="438912" y="4014216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1" name="Text 19"/>
          <p:cNvSpPr/>
          <p:nvPr/>
        </p:nvSpPr>
        <p:spPr>
          <a:xfrm>
            <a:off x="621792" y="3931920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ignature IDs</a:t>
            </a:r>
            <a:endParaRPr lang="en-US" sz="950" dirty="0"/>
          </a:p>
        </p:txBody>
      </p:sp>
      <p:sp>
        <p:nvSpPr>
          <p:cNvPr id="22" name="Text 20"/>
          <p:cNvSpPr/>
          <p:nvPr/>
        </p:nvSpPr>
        <p:spPr>
          <a:xfrm>
            <a:off x="621792" y="4123944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ignatureId per task — the UUID of the captured e-signature for audit purposes.</a:t>
            </a:r>
            <a:endParaRPr lang="en-US" sz="900" dirty="0"/>
          </a:p>
        </p:txBody>
      </p:sp>
      <p:sp>
        <p:nvSpPr>
          <p:cNvPr id="23" name="Shape 21"/>
          <p:cNvSpPr/>
          <p:nvPr/>
        </p:nvSpPr>
        <p:spPr>
          <a:xfrm>
            <a:off x="438912" y="4416552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4" name="Text 22"/>
          <p:cNvSpPr/>
          <p:nvPr/>
        </p:nvSpPr>
        <p:spPr>
          <a:xfrm>
            <a:off x="621792" y="4334256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ification status</a:t>
            </a:r>
            <a:endParaRPr lang="en-US" sz="950" dirty="0"/>
          </a:p>
        </p:txBody>
      </p:sp>
      <p:sp>
        <p:nvSpPr>
          <p:cNvPr id="25" name="Text 23"/>
          <p:cNvSpPr/>
          <p:nvPr/>
        </p:nvSpPr>
        <p:spPr>
          <a:xfrm>
            <a:off x="621792" y="4526280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ificationStatus (Passed / Failed) and lastVerified timestamp per task.</a:t>
            </a:r>
            <a:endParaRPr lang="en-US" sz="900" dirty="0"/>
          </a:p>
        </p:txBody>
      </p:sp>
      <p:sp>
        <p:nvSpPr>
          <p:cNvPr id="26" name="Shape 24"/>
          <p:cNvSpPr/>
          <p:nvPr/>
        </p:nvSpPr>
        <p:spPr>
          <a:xfrm>
            <a:off x="5349240" y="2743200"/>
            <a:ext cx="34747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7" name="Text 25"/>
          <p:cNvSpPr/>
          <p:nvPr/>
        </p:nvSpPr>
        <p:spPr>
          <a:xfrm>
            <a:off x="5486400" y="2807208"/>
            <a:ext cx="32004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100" dirty="0"/>
          </a:p>
        </p:txBody>
      </p:sp>
      <p:sp>
        <p:nvSpPr>
          <p:cNvPr id="28" name="Text 26"/>
          <p:cNvSpPr/>
          <p:nvPr/>
        </p:nvSpPr>
        <p:spPr>
          <a:xfrm>
            <a:off x="5486400" y="3136392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status</a:t>
            </a:r>
            <a:endParaRPr lang="en-US" sz="850" dirty="0"/>
          </a:p>
        </p:txBody>
      </p:sp>
      <p:sp>
        <p:nvSpPr>
          <p:cNvPr id="29" name="Text 27"/>
          <p:cNvSpPr/>
          <p:nvPr/>
        </p:nvSpPr>
        <p:spPr>
          <a:xfrm>
            <a:off x="7132320" y="3136392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ute status (Complete, Pending)</a:t>
            </a:r>
            <a:endParaRPr lang="en-US" sz="850" dirty="0"/>
          </a:p>
        </p:txBody>
      </p:sp>
      <p:sp>
        <p:nvSpPr>
          <p:cNvPr id="30" name="Text 28"/>
          <p:cNvSpPr/>
          <p:nvPr/>
        </p:nvSpPr>
        <p:spPr>
          <a:xfrm>
            <a:off x="5486400" y="3346704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signaturesRequired</a:t>
            </a:r>
            <a:endParaRPr lang="en-US" sz="850" dirty="0"/>
          </a:p>
        </p:txBody>
      </p:sp>
      <p:sp>
        <p:nvSpPr>
          <p:cNvPr id="31" name="Text 29"/>
          <p:cNvSpPr/>
          <p:nvPr/>
        </p:nvSpPr>
        <p:spPr>
          <a:xfrm>
            <a:off x="7132320" y="3346704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rue = e-signatures enforced</a:t>
            </a:r>
            <a:endParaRPr lang="en-US" sz="850" dirty="0"/>
          </a:p>
        </p:txBody>
      </p:sp>
      <p:sp>
        <p:nvSpPr>
          <p:cNvPr id="32" name="Text 30"/>
          <p:cNvSpPr/>
          <p:nvPr/>
        </p:nvSpPr>
        <p:spPr>
          <a:xfrm>
            <a:off x="5486400" y="3557016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Groups[].name</a:t>
            </a:r>
            <a:endParaRPr lang="en-US" sz="850" dirty="0"/>
          </a:p>
        </p:txBody>
      </p:sp>
      <p:sp>
        <p:nvSpPr>
          <p:cNvPr id="33" name="Text 31"/>
          <p:cNvSpPr/>
          <p:nvPr/>
        </p:nvSpPr>
        <p:spPr>
          <a:xfrm>
            <a:off x="7132320" y="3557016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roval level name (e.g. Level 1)</a:t>
            </a:r>
            <a:endParaRPr lang="en-US" sz="850" dirty="0"/>
          </a:p>
        </p:txBody>
      </p:sp>
      <p:sp>
        <p:nvSpPr>
          <p:cNvPr id="34" name="Text 32"/>
          <p:cNvSpPr/>
          <p:nvPr/>
        </p:nvSpPr>
        <p:spPr>
          <a:xfrm>
            <a:off x="5486400" y="3767328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s[].assignee</a:t>
            </a:r>
            <a:endParaRPr lang="en-US" sz="850" dirty="0"/>
          </a:p>
        </p:txBody>
      </p:sp>
      <p:sp>
        <p:nvSpPr>
          <p:cNvPr id="35" name="Text 33"/>
          <p:cNvSpPr/>
          <p:nvPr/>
        </p:nvSpPr>
        <p:spPr>
          <a:xfrm>
            <a:off x="7132320" y="3767328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r ID of the approver</a:t>
            </a:r>
            <a:endParaRPr lang="en-US" sz="850" dirty="0"/>
          </a:p>
        </p:txBody>
      </p:sp>
      <p:sp>
        <p:nvSpPr>
          <p:cNvPr id="36" name="Text 34"/>
          <p:cNvSpPr/>
          <p:nvPr/>
        </p:nvSpPr>
        <p:spPr>
          <a:xfrm>
            <a:off x="5486400" y="3977640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s[].meaning</a:t>
            </a:r>
            <a:endParaRPr lang="en-US" sz="850" dirty="0"/>
          </a:p>
        </p:txBody>
      </p:sp>
      <p:sp>
        <p:nvSpPr>
          <p:cNvPr id="37" name="Text 35"/>
          <p:cNvSpPr/>
          <p:nvPr/>
        </p:nvSpPr>
        <p:spPr>
          <a:xfrm>
            <a:off x="7132320" y="3977640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roval step name</a:t>
            </a:r>
            <a:endParaRPr lang="en-US" sz="850" dirty="0"/>
          </a:p>
        </p:txBody>
      </p:sp>
      <p:sp>
        <p:nvSpPr>
          <p:cNvPr id="38" name="Text 36"/>
          <p:cNvSpPr/>
          <p:nvPr/>
        </p:nvSpPr>
        <p:spPr>
          <a:xfrm>
            <a:off x="5486400" y="4187952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s[].signatureId</a:t>
            </a:r>
            <a:endParaRPr lang="en-US" sz="850" dirty="0"/>
          </a:p>
        </p:txBody>
      </p:sp>
      <p:sp>
        <p:nvSpPr>
          <p:cNvPr id="39" name="Text 37"/>
          <p:cNvSpPr/>
          <p:nvPr/>
        </p:nvSpPr>
        <p:spPr>
          <a:xfrm>
            <a:off x="7132320" y="4187952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UID of the captured e-signature</a:t>
            </a:r>
            <a:endParaRPr lang="en-US" sz="850" dirty="0"/>
          </a:p>
        </p:txBody>
      </p:sp>
      <p:sp>
        <p:nvSpPr>
          <p:cNvPr id="40" name="Text 38"/>
          <p:cNvSpPr/>
          <p:nvPr/>
        </p:nvSpPr>
        <p:spPr>
          <a:xfrm>
            <a:off x="5486400" y="4398264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s[].verifStatus</a:t>
            </a:r>
            <a:endParaRPr lang="en-US" sz="850" dirty="0"/>
          </a:p>
        </p:txBody>
      </p:sp>
      <p:sp>
        <p:nvSpPr>
          <p:cNvPr id="41" name="Text 39"/>
          <p:cNvSpPr/>
          <p:nvPr/>
        </p:nvSpPr>
        <p:spPr>
          <a:xfrm>
            <a:off x="7132320" y="4398264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ssed or Failed</a:t>
            </a:r>
            <a:endParaRPr lang="en-US" sz="850" dirty="0"/>
          </a:p>
        </p:txBody>
      </p:sp>
      <p:sp>
        <p:nvSpPr>
          <p:cNvPr id="42" name="Text 40"/>
          <p:cNvSpPr/>
          <p:nvPr/>
        </p:nvSpPr>
        <p:spPr>
          <a:xfrm>
            <a:off x="5486400" y="4608576"/>
            <a:ext cx="162763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asks[].lastVerified</a:t>
            </a:r>
            <a:endParaRPr lang="en-US" sz="850" dirty="0"/>
          </a:p>
        </p:txBody>
      </p:sp>
      <p:sp>
        <p:nvSpPr>
          <p:cNvPr id="43" name="Text 41"/>
          <p:cNvSpPr/>
          <p:nvPr/>
        </p:nvSpPr>
        <p:spPr>
          <a:xfrm>
            <a:off x="7132320" y="4608576"/>
            <a:ext cx="157276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ast signature check timestamp</a:t>
            </a:r>
            <a:endParaRPr lang="en-US" sz="850" dirty="0"/>
          </a:p>
        </p:txBody>
      </p:sp>
      <p:sp>
        <p:nvSpPr>
          <p:cNvPr id="46" name="Shape 63">
            <a:extLst>
              <a:ext uri="{FF2B5EF4-FFF2-40B4-BE49-F238E27FC236}">
                <a16:creationId xmlns:a16="http://schemas.microsoft.com/office/drawing/2014/main" id="{7940839D-ABE4-3CCC-B270-A116F84B3501}"/>
              </a:ext>
            </a:extLst>
          </p:cNvPr>
          <p:cNvSpPr/>
          <p:nvPr/>
        </p:nvSpPr>
        <p:spPr>
          <a:xfrm>
            <a:off x="320040" y="1537498"/>
            <a:ext cx="4160520" cy="1126018"/>
          </a:xfrm>
          <a:prstGeom prst="roundRect">
            <a:avLst>
              <a:gd name="adj" fmla="val 1111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47" name="Text 64">
            <a:extLst>
              <a:ext uri="{FF2B5EF4-FFF2-40B4-BE49-F238E27FC236}">
                <a16:creationId xmlns:a16="http://schemas.microsoft.com/office/drawing/2014/main" id="{D29C050C-92C9-7DF3-32E1-D5183DD730AC}"/>
              </a:ext>
            </a:extLst>
          </p:cNvPr>
          <p:cNvSpPr/>
          <p:nvPr/>
        </p:nvSpPr>
        <p:spPr>
          <a:xfrm>
            <a:off x="457200" y="2173657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quest</a:t>
            </a:r>
            <a:endParaRPr lang="en-US" sz="950" dirty="0"/>
          </a:p>
        </p:txBody>
      </p:sp>
      <p:sp>
        <p:nvSpPr>
          <p:cNvPr id="48" name="Shape 65">
            <a:extLst>
              <a:ext uri="{FF2B5EF4-FFF2-40B4-BE49-F238E27FC236}">
                <a16:creationId xmlns:a16="http://schemas.microsoft.com/office/drawing/2014/main" id="{C76C9B64-152F-FF57-EC07-95729E6BFEAD}"/>
              </a:ext>
            </a:extLst>
          </p:cNvPr>
          <p:cNvSpPr/>
          <p:nvPr/>
        </p:nvSpPr>
        <p:spPr>
          <a:xfrm>
            <a:off x="457200" y="2344361"/>
            <a:ext cx="3913632" cy="236848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9" name="Text 66">
            <a:extLst>
              <a:ext uri="{FF2B5EF4-FFF2-40B4-BE49-F238E27FC236}">
                <a16:creationId xmlns:a16="http://schemas.microsoft.com/office/drawing/2014/main" id="{2059B457-5087-46A6-CF69-2B34FD6D91FF}"/>
              </a:ext>
            </a:extLst>
          </p:cNvPr>
          <p:cNvSpPr/>
          <p:nvPr/>
        </p:nvSpPr>
        <p:spPr>
          <a:xfrm>
            <a:off x="566928" y="2417514"/>
            <a:ext cx="3694176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GET 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v1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outes?recordID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=baa82d46-888c-4267-a50b-7d8d9b</a:t>
            </a:r>
            <a:endParaRPr lang="en-US" sz="800" dirty="0"/>
          </a:p>
        </p:txBody>
      </p:sp>
      <p:sp>
        <p:nvSpPr>
          <p:cNvPr id="50" name="Shape 63">
            <a:extLst>
              <a:ext uri="{FF2B5EF4-FFF2-40B4-BE49-F238E27FC236}">
                <a16:creationId xmlns:a16="http://schemas.microsoft.com/office/drawing/2014/main" id="{4873E232-7600-591F-1A23-8723B1E9D5EA}"/>
              </a:ext>
            </a:extLst>
          </p:cNvPr>
          <p:cNvSpPr/>
          <p:nvPr/>
        </p:nvSpPr>
        <p:spPr>
          <a:xfrm>
            <a:off x="4663442" y="1546642"/>
            <a:ext cx="4160520" cy="1126018"/>
          </a:xfrm>
          <a:prstGeom prst="roundRect">
            <a:avLst>
              <a:gd name="adj" fmla="val 1111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1" name="Text 64">
            <a:extLst>
              <a:ext uri="{FF2B5EF4-FFF2-40B4-BE49-F238E27FC236}">
                <a16:creationId xmlns:a16="http://schemas.microsoft.com/office/drawing/2014/main" id="{40C74F98-EB80-7B78-531C-73177AA755CB}"/>
              </a:ext>
            </a:extLst>
          </p:cNvPr>
          <p:cNvSpPr/>
          <p:nvPr/>
        </p:nvSpPr>
        <p:spPr>
          <a:xfrm>
            <a:off x="4800602" y="1595015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sponse</a:t>
            </a:r>
            <a:endParaRPr lang="en-US" sz="950" dirty="0"/>
          </a:p>
        </p:txBody>
      </p:sp>
      <p:sp>
        <p:nvSpPr>
          <p:cNvPr id="52" name="Shape 65">
            <a:extLst>
              <a:ext uri="{FF2B5EF4-FFF2-40B4-BE49-F238E27FC236}">
                <a16:creationId xmlns:a16="http://schemas.microsoft.com/office/drawing/2014/main" id="{22396318-10B2-8943-1E35-A7E7A27131F1}"/>
              </a:ext>
            </a:extLst>
          </p:cNvPr>
          <p:cNvSpPr/>
          <p:nvPr/>
        </p:nvSpPr>
        <p:spPr>
          <a:xfrm>
            <a:off x="4800602" y="1798334"/>
            <a:ext cx="3913632" cy="801174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53" name="Text 66">
            <a:extLst>
              <a:ext uri="{FF2B5EF4-FFF2-40B4-BE49-F238E27FC236}">
                <a16:creationId xmlns:a16="http://schemas.microsoft.com/office/drawing/2014/main" id="{0F5BBAE1-CBFF-7FD4-2EF7-A8356A28C233}"/>
              </a:ext>
            </a:extLst>
          </p:cNvPr>
          <p:cNvSpPr/>
          <p:nvPr/>
        </p:nvSpPr>
        <p:spPr>
          <a:xfrm>
            <a:off x="4910330" y="1871486"/>
            <a:ext cx="3694176" cy="5260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endParaRPr lang="en-US" sz="800" dirty="0"/>
          </a:p>
        </p:txBody>
      </p:sp>
      <p:sp>
        <p:nvSpPr>
          <p:cNvPr id="54" name="Text 66">
            <a:extLst>
              <a:ext uri="{FF2B5EF4-FFF2-40B4-BE49-F238E27FC236}">
                <a16:creationId xmlns:a16="http://schemas.microsoft.com/office/drawing/2014/main" id="{AAE8ED96-06DF-2036-722B-8EDA4EDACCB6}"/>
              </a:ext>
            </a:extLst>
          </p:cNvPr>
          <p:cNvSpPr/>
          <p:nvPr/>
        </p:nvSpPr>
        <p:spPr>
          <a:xfrm>
            <a:off x="4873754" y="1864515"/>
            <a:ext cx="3694176" cy="61612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name": "Level 1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status": "Complete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“tasks": [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"assignee": “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jsmith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,” meaning": "Technical Approval",</a:t>
            </a:r>
          </a:p>
          <a:p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"timestamp": "2026-06-17 21:22:26 +00:00",…</a:t>
            </a:r>
            <a:endParaRPr lang="en-US" sz="800" dirty="0"/>
          </a:p>
        </p:txBody>
      </p:sp>
      <p:sp>
        <p:nvSpPr>
          <p:cNvPr id="84" name="Text 8">
            <a:extLst>
              <a:ext uri="{FF2B5EF4-FFF2-40B4-BE49-F238E27FC236}">
                <a16:creationId xmlns:a16="http://schemas.microsoft.com/office/drawing/2014/main" id="{65C229FE-EE21-0584-D7DE-5F0250A3563D}"/>
              </a:ext>
            </a:extLst>
          </p:cNvPr>
          <p:cNvSpPr/>
          <p:nvPr/>
        </p:nvSpPr>
        <p:spPr>
          <a:xfrm>
            <a:off x="457200" y="1513988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Query Parameters</a:t>
            </a:r>
            <a:endParaRPr lang="en-US" sz="1050" dirty="0"/>
          </a:p>
        </p:txBody>
      </p:sp>
      <p:sp>
        <p:nvSpPr>
          <p:cNvPr id="85" name="Shape 9">
            <a:extLst>
              <a:ext uri="{FF2B5EF4-FFF2-40B4-BE49-F238E27FC236}">
                <a16:creationId xmlns:a16="http://schemas.microsoft.com/office/drawing/2014/main" id="{2F135152-1BA6-2967-C3ED-08C0B16DF08C}"/>
              </a:ext>
            </a:extLst>
          </p:cNvPr>
          <p:cNvSpPr/>
          <p:nvPr/>
        </p:nvSpPr>
        <p:spPr>
          <a:xfrm>
            <a:off x="457200" y="1747817"/>
            <a:ext cx="11887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6" name="Shape 10">
            <a:extLst>
              <a:ext uri="{FF2B5EF4-FFF2-40B4-BE49-F238E27FC236}">
                <a16:creationId xmlns:a16="http://schemas.microsoft.com/office/drawing/2014/main" id="{5F38C218-EF09-9DF7-4A06-8B52F9B51066}"/>
              </a:ext>
            </a:extLst>
          </p:cNvPr>
          <p:cNvSpPr/>
          <p:nvPr/>
        </p:nvSpPr>
        <p:spPr>
          <a:xfrm>
            <a:off x="1645920" y="1747817"/>
            <a:ext cx="14173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7" name="Shape 11">
            <a:extLst>
              <a:ext uri="{FF2B5EF4-FFF2-40B4-BE49-F238E27FC236}">
                <a16:creationId xmlns:a16="http://schemas.microsoft.com/office/drawing/2014/main" id="{E62EC602-BC51-74A2-2EA5-1B098B656F9C}"/>
              </a:ext>
            </a:extLst>
          </p:cNvPr>
          <p:cNvSpPr/>
          <p:nvPr/>
        </p:nvSpPr>
        <p:spPr>
          <a:xfrm>
            <a:off x="3063240" y="1747817"/>
            <a:ext cx="1298448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8" name="Text 12">
            <a:extLst>
              <a:ext uri="{FF2B5EF4-FFF2-40B4-BE49-F238E27FC236}">
                <a16:creationId xmlns:a16="http://schemas.microsoft.com/office/drawing/2014/main" id="{5D509200-68E3-4C92-2A55-EC901E298454}"/>
              </a:ext>
            </a:extLst>
          </p:cNvPr>
          <p:cNvSpPr/>
          <p:nvPr/>
        </p:nvSpPr>
        <p:spPr>
          <a:xfrm>
            <a:off x="493776" y="1747817"/>
            <a:ext cx="11155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rameter</a:t>
            </a:r>
            <a:endParaRPr lang="en-US" sz="800" dirty="0"/>
          </a:p>
        </p:txBody>
      </p:sp>
      <p:sp>
        <p:nvSpPr>
          <p:cNvPr id="89" name="Text 13">
            <a:extLst>
              <a:ext uri="{FF2B5EF4-FFF2-40B4-BE49-F238E27FC236}">
                <a16:creationId xmlns:a16="http://schemas.microsoft.com/office/drawing/2014/main" id="{12BB75B5-9AD5-42AF-1009-4CE6FD1B7C8E}"/>
              </a:ext>
            </a:extLst>
          </p:cNvPr>
          <p:cNvSpPr/>
          <p:nvPr/>
        </p:nvSpPr>
        <p:spPr>
          <a:xfrm>
            <a:off x="1682496" y="1747817"/>
            <a:ext cx="13441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scription</a:t>
            </a:r>
            <a:endParaRPr lang="en-US" sz="800" dirty="0"/>
          </a:p>
        </p:txBody>
      </p:sp>
      <p:sp>
        <p:nvSpPr>
          <p:cNvPr id="90" name="Text 14">
            <a:extLst>
              <a:ext uri="{FF2B5EF4-FFF2-40B4-BE49-F238E27FC236}">
                <a16:creationId xmlns:a16="http://schemas.microsoft.com/office/drawing/2014/main" id="{2AD9F833-604E-2508-30E0-9991FA727951}"/>
              </a:ext>
            </a:extLst>
          </p:cNvPr>
          <p:cNvSpPr/>
          <p:nvPr/>
        </p:nvSpPr>
        <p:spPr>
          <a:xfrm>
            <a:off x="3099816" y="1747817"/>
            <a:ext cx="1225296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ample</a:t>
            </a:r>
            <a:endParaRPr lang="en-US" sz="800" dirty="0"/>
          </a:p>
        </p:txBody>
      </p:sp>
      <p:sp>
        <p:nvSpPr>
          <p:cNvPr id="91" name="Shape 15">
            <a:extLst>
              <a:ext uri="{FF2B5EF4-FFF2-40B4-BE49-F238E27FC236}">
                <a16:creationId xmlns:a16="http://schemas.microsoft.com/office/drawing/2014/main" id="{29A5971B-4F0E-663C-92F6-22DCE1C10B4D}"/>
              </a:ext>
            </a:extLst>
          </p:cNvPr>
          <p:cNvSpPr/>
          <p:nvPr/>
        </p:nvSpPr>
        <p:spPr>
          <a:xfrm>
            <a:off x="457200" y="1967273"/>
            <a:ext cx="1188720" cy="224250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92" name="Shape 16">
            <a:extLst>
              <a:ext uri="{FF2B5EF4-FFF2-40B4-BE49-F238E27FC236}">
                <a16:creationId xmlns:a16="http://schemas.microsoft.com/office/drawing/2014/main" id="{7D6BDAA9-C237-F787-647D-705B1F3A4CCD}"/>
              </a:ext>
            </a:extLst>
          </p:cNvPr>
          <p:cNvSpPr/>
          <p:nvPr/>
        </p:nvSpPr>
        <p:spPr>
          <a:xfrm>
            <a:off x="1645920" y="1967273"/>
            <a:ext cx="1417320" cy="224250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3" name="Shape 17">
            <a:extLst>
              <a:ext uri="{FF2B5EF4-FFF2-40B4-BE49-F238E27FC236}">
                <a16:creationId xmlns:a16="http://schemas.microsoft.com/office/drawing/2014/main" id="{FA7AF36A-D03F-22E9-13BE-35F10A3A8AA1}"/>
              </a:ext>
            </a:extLst>
          </p:cNvPr>
          <p:cNvSpPr/>
          <p:nvPr/>
        </p:nvSpPr>
        <p:spPr>
          <a:xfrm>
            <a:off x="3063240" y="1967273"/>
            <a:ext cx="1298448" cy="224250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4" name="Text 18">
            <a:extLst>
              <a:ext uri="{FF2B5EF4-FFF2-40B4-BE49-F238E27FC236}">
                <a16:creationId xmlns:a16="http://schemas.microsoft.com/office/drawing/2014/main" id="{E3C8BE62-2972-8041-A55E-37966AD1D705}"/>
              </a:ext>
            </a:extLst>
          </p:cNvPr>
          <p:cNvSpPr/>
          <p:nvPr/>
        </p:nvSpPr>
        <p:spPr>
          <a:xfrm>
            <a:off x="475488" y="1967273"/>
            <a:ext cx="1152144" cy="22425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800" b="1" dirty="0" err="1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Id</a:t>
            </a:r>
            <a:endParaRPr lang="en-US" sz="800" dirty="0"/>
          </a:p>
        </p:txBody>
      </p:sp>
      <p:sp>
        <p:nvSpPr>
          <p:cNvPr id="95" name="Text 19">
            <a:extLst>
              <a:ext uri="{FF2B5EF4-FFF2-40B4-BE49-F238E27FC236}">
                <a16:creationId xmlns:a16="http://schemas.microsoft.com/office/drawing/2014/main" id="{55CD36A4-27BF-904F-B0EA-A87BEA6F9AB7}"/>
              </a:ext>
            </a:extLst>
          </p:cNvPr>
          <p:cNvSpPr/>
          <p:nvPr/>
        </p:nvSpPr>
        <p:spPr>
          <a:xfrm>
            <a:off x="1664208" y="1967273"/>
            <a:ext cx="1380744" cy="22425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by record id</a:t>
            </a:r>
            <a:endParaRPr lang="en-US" sz="750" dirty="0"/>
          </a:p>
        </p:txBody>
      </p:sp>
      <p:sp>
        <p:nvSpPr>
          <p:cNvPr id="96" name="Text 20">
            <a:extLst>
              <a:ext uri="{FF2B5EF4-FFF2-40B4-BE49-F238E27FC236}">
                <a16:creationId xmlns:a16="http://schemas.microsoft.com/office/drawing/2014/main" id="{E11D1624-F68B-B088-7367-B788C5E2DD70}"/>
              </a:ext>
            </a:extLst>
          </p:cNvPr>
          <p:cNvSpPr/>
          <p:nvPr/>
        </p:nvSpPr>
        <p:spPr>
          <a:xfrm>
            <a:off x="3081528" y="1967273"/>
            <a:ext cx="1261872" cy="22425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baa82d46-888c-4267-a50b-7d8d9b</a:t>
            </a:r>
            <a:endParaRPr lang="en-US" sz="750" dirty="0"/>
          </a:p>
        </p:txBody>
      </p:sp>
      <p:sp>
        <p:nvSpPr>
          <p:cNvPr id="97" name="Title 96">
            <a:extLst>
              <a:ext uri="{FF2B5EF4-FFF2-40B4-BE49-F238E27FC236}">
                <a16:creationId xmlns:a16="http://schemas.microsoft.com/office/drawing/2014/main" id="{29EF3C18-A8E4-4D6F-2D6F-F186F5B63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val Routes &amp; Signature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/>
        </p:nvSpPr>
        <p:spPr>
          <a:xfrm>
            <a:off x="182880" y="548640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" name="Text 3"/>
          <p:cNvSpPr/>
          <p:nvPr/>
        </p:nvSpPr>
        <p:spPr>
          <a:xfrm>
            <a:off x="274320" y="548640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s</a:t>
            </a:r>
            <a:endParaRPr lang="en-US" sz="900" dirty="0"/>
          </a:p>
        </p:txBody>
      </p:sp>
      <p:sp>
        <p:nvSpPr>
          <p:cNvPr id="6" name="Shape 4"/>
          <p:cNvSpPr/>
          <p:nvPr/>
        </p:nvSpPr>
        <p:spPr>
          <a:xfrm>
            <a:off x="182880" y="786384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228600" y="82296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6"/>
          <p:cNvSpPr/>
          <p:nvPr/>
        </p:nvSpPr>
        <p:spPr>
          <a:xfrm>
            <a:off x="228600" y="82296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9" name="Text 7"/>
          <p:cNvSpPr/>
          <p:nvPr/>
        </p:nvSpPr>
        <p:spPr>
          <a:xfrm>
            <a:off x="731520" y="81381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search</a:t>
            </a:r>
            <a:endParaRPr lang="en-US" sz="750" dirty="0"/>
          </a:p>
        </p:txBody>
      </p:sp>
      <p:sp>
        <p:nvSpPr>
          <p:cNvPr id="10" name="Text 8"/>
          <p:cNvSpPr/>
          <p:nvPr/>
        </p:nvSpPr>
        <p:spPr>
          <a:xfrm>
            <a:off x="3035808" y="81381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earch records by project, type, status, name</a:t>
            </a:r>
            <a:endParaRPr lang="en-US" sz="750" dirty="0"/>
          </a:p>
        </p:txBody>
      </p:sp>
      <p:sp>
        <p:nvSpPr>
          <p:cNvPr id="11" name="Shape 9"/>
          <p:cNvSpPr/>
          <p:nvPr/>
        </p:nvSpPr>
        <p:spPr>
          <a:xfrm>
            <a:off x="182880" y="1042416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" name="Shape 10"/>
          <p:cNvSpPr/>
          <p:nvPr/>
        </p:nvSpPr>
        <p:spPr>
          <a:xfrm>
            <a:off x="228600" y="1078992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3" name="Text 11"/>
          <p:cNvSpPr/>
          <p:nvPr/>
        </p:nvSpPr>
        <p:spPr>
          <a:xfrm>
            <a:off x="228600" y="1078992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14" name="Text 12"/>
          <p:cNvSpPr/>
          <p:nvPr/>
        </p:nvSpPr>
        <p:spPr>
          <a:xfrm>
            <a:off x="731520" y="1069848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{id}</a:t>
            </a:r>
            <a:endParaRPr lang="en-US" sz="750" dirty="0"/>
          </a:p>
        </p:txBody>
      </p:sp>
      <p:sp>
        <p:nvSpPr>
          <p:cNvPr id="15" name="Text 13"/>
          <p:cNvSpPr/>
          <p:nvPr/>
        </p:nvSpPr>
        <p:spPr>
          <a:xfrm>
            <a:off x="3035808" y="1069848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single record detail</a:t>
            </a:r>
            <a:endParaRPr lang="en-US" sz="750" dirty="0"/>
          </a:p>
        </p:txBody>
      </p:sp>
      <p:sp>
        <p:nvSpPr>
          <p:cNvPr id="16" name="Shape 14"/>
          <p:cNvSpPr/>
          <p:nvPr/>
        </p:nvSpPr>
        <p:spPr>
          <a:xfrm>
            <a:off x="182880" y="1298448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7" name="Shape 15"/>
          <p:cNvSpPr/>
          <p:nvPr/>
        </p:nvSpPr>
        <p:spPr>
          <a:xfrm>
            <a:off x="228600" y="1335024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228600" y="1335024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19" name="Text 17"/>
          <p:cNvSpPr/>
          <p:nvPr/>
        </p:nvSpPr>
        <p:spPr>
          <a:xfrm>
            <a:off x="731520" y="1325880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{id}/history</a:t>
            </a:r>
            <a:endParaRPr lang="en-US" sz="750" dirty="0"/>
          </a:p>
        </p:txBody>
      </p:sp>
      <p:sp>
        <p:nvSpPr>
          <p:cNvPr id="20" name="Text 18"/>
          <p:cNvSpPr/>
          <p:nvPr/>
        </p:nvSpPr>
        <p:spPr>
          <a:xfrm>
            <a:off x="3035808" y="1325880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dit trail — all transitions &amp; signatures</a:t>
            </a:r>
            <a:endParaRPr lang="en-US" sz="750" dirty="0"/>
          </a:p>
        </p:txBody>
      </p:sp>
      <p:sp>
        <p:nvSpPr>
          <p:cNvPr id="21" name="Shape 19"/>
          <p:cNvSpPr/>
          <p:nvPr/>
        </p:nvSpPr>
        <p:spPr>
          <a:xfrm>
            <a:off x="182880" y="1554480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2" name="Shape 20"/>
          <p:cNvSpPr/>
          <p:nvPr/>
        </p:nvSpPr>
        <p:spPr>
          <a:xfrm>
            <a:off x="228600" y="1591056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3" name="Text 21"/>
          <p:cNvSpPr/>
          <p:nvPr/>
        </p:nvSpPr>
        <p:spPr>
          <a:xfrm>
            <a:off x="228600" y="1591056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24" name="Text 22"/>
          <p:cNvSpPr/>
          <p:nvPr/>
        </p:nvSpPr>
        <p:spPr>
          <a:xfrm>
            <a:off x="731520" y="1581912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projects</a:t>
            </a:r>
            <a:endParaRPr lang="en-US" sz="750" dirty="0"/>
          </a:p>
        </p:txBody>
      </p:sp>
      <p:sp>
        <p:nvSpPr>
          <p:cNvPr id="25" name="Text 23"/>
          <p:cNvSpPr/>
          <p:nvPr/>
        </p:nvSpPr>
        <p:spPr>
          <a:xfrm>
            <a:off x="3035808" y="1581912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all accessible projects</a:t>
            </a:r>
            <a:endParaRPr lang="en-US" sz="750" dirty="0"/>
          </a:p>
        </p:txBody>
      </p:sp>
      <p:sp>
        <p:nvSpPr>
          <p:cNvPr id="26" name="Shape 24"/>
          <p:cNvSpPr/>
          <p:nvPr/>
        </p:nvSpPr>
        <p:spPr>
          <a:xfrm>
            <a:off x="182880" y="1810512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7" name="Shape 25"/>
          <p:cNvSpPr/>
          <p:nvPr/>
        </p:nvSpPr>
        <p:spPr>
          <a:xfrm>
            <a:off x="228600" y="1847088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8" name="Text 26"/>
          <p:cNvSpPr/>
          <p:nvPr/>
        </p:nvSpPr>
        <p:spPr>
          <a:xfrm>
            <a:off x="228600" y="1847088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29" name="Text 27"/>
          <p:cNvSpPr/>
          <p:nvPr/>
        </p:nvSpPr>
        <p:spPr>
          <a:xfrm>
            <a:off x="731520" y="1837944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record_types</a:t>
            </a:r>
            <a:endParaRPr lang="en-US" sz="750" dirty="0"/>
          </a:p>
        </p:txBody>
      </p:sp>
      <p:sp>
        <p:nvSpPr>
          <p:cNvPr id="30" name="Text 28"/>
          <p:cNvSpPr/>
          <p:nvPr/>
        </p:nvSpPr>
        <p:spPr>
          <a:xfrm>
            <a:off x="3035808" y="1837944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available record types</a:t>
            </a:r>
            <a:endParaRPr lang="en-US" sz="750" dirty="0"/>
          </a:p>
        </p:txBody>
      </p:sp>
      <p:sp>
        <p:nvSpPr>
          <p:cNvPr id="31" name="Shape 29"/>
          <p:cNvSpPr/>
          <p:nvPr/>
        </p:nvSpPr>
        <p:spPr>
          <a:xfrm>
            <a:off x="182880" y="2066544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2" name="Shape 30"/>
          <p:cNvSpPr/>
          <p:nvPr/>
        </p:nvSpPr>
        <p:spPr>
          <a:xfrm>
            <a:off x="228600" y="210312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3" name="Text 31"/>
          <p:cNvSpPr/>
          <p:nvPr/>
        </p:nvSpPr>
        <p:spPr>
          <a:xfrm>
            <a:off x="228600" y="210312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34" name="Text 32"/>
          <p:cNvSpPr/>
          <p:nvPr/>
        </p:nvSpPr>
        <p:spPr>
          <a:xfrm>
            <a:off x="731520" y="209397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approval_statuses</a:t>
            </a:r>
            <a:endParaRPr lang="en-US" sz="750" dirty="0"/>
          </a:p>
        </p:txBody>
      </p:sp>
      <p:sp>
        <p:nvSpPr>
          <p:cNvPr id="35" name="Text 33"/>
          <p:cNvSpPr/>
          <p:nvPr/>
        </p:nvSpPr>
        <p:spPr>
          <a:xfrm>
            <a:off x="3035808" y="209397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approval status IDs and names</a:t>
            </a:r>
            <a:endParaRPr lang="en-US" sz="750" dirty="0"/>
          </a:p>
        </p:txBody>
      </p:sp>
      <p:sp>
        <p:nvSpPr>
          <p:cNvPr id="36" name="Shape 34"/>
          <p:cNvSpPr/>
          <p:nvPr/>
        </p:nvSpPr>
        <p:spPr>
          <a:xfrm>
            <a:off x="182880" y="2414016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7" name="Text 35"/>
          <p:cNvSpPr/>
          <p:nvPr/>
        </p:nvSpPr>
        <p:spPr>
          <a:xfrm>
            <a:off x="274320" y="2414016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utes &amp; Tasks</a:t>
            </a:r>
            <a:endParaRPr lang="en-US" sz="900" dirty="0"/>
          </a:p>
        </p:txBody>
      </p:sp>
      <p:sp>
        <p:nvSpPr>
          <p:cNvPr id="38" name="Shape 36"/>
          <p:cNvSpPr/>
          <p:nvPr/>
        </p:nvSpPr>
        <p:spPr>
          <a:xfrm>
            <a:off x="182880" y="2651760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9" name="Shape 37"/>
          <p:cNvSpPr/>
          <p:nvPr/>
        </p:nvSpPr>
        <p:spPr>
          <a:xfrm>
            <a:off x="228600" y="2688336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0" name="Text 38"/>
          <p:cNvSpPr/>
          <p:nvPr/>
        </p:nvSpPr>
        <p:spPr>
          <a:xfrm>
            <a:off x="228600" y="2688336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41" name="Text 39"/>
          <p:cNvSpPr/>
          <p:nvPr/>
        </p:nvSpPr>
        <p:spPr>
          <a:xfrm>
            <a:off x="731520" y="2679192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outes?recordId={id}</a:t>
            </a:r>
            <a:endParaRPr lang="en-US" sz="750" dirty="0"/>
          </a:p>
        </p:txBody>
      </p:sp>
      <p:sp>
        <p:nvSpPr>
          <p:cNvPr id="42" name="Text 40"/>
          <p:cNvSpPr/>
          <p:nvPr/>
        </p:nvSpPr>
        <p:spPr>
          <a:xfrm>
            <a:off x="3035808" y="2679192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roval route — taskGroups, signatureId, verification</a:t>
            </a:r>
            <a:endParaRPr lang="en-US" sz="750" dirty="0"/>
          </a:p>
        </p:txBody>
      </p:sp>
      <p:sp>
        <p:nvSpPr>
          <p:cNvPr id="43" name="Shape 41"/>
          <p:cNvSpPr/>
          <p:nvPr/>
        </p:nvSpPr>
        <p:spPr>
          <a:xfrm>
            <a:off x="182880" y="2907792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4" name="Shape 42"/>
          <p:cNvSpPr/>
          <p:nvPr/>
        </p:nvSpPr>
        <p:spPr>
          <a:xfrm>
            <a:off x="228600" y="2944368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5" name="Text 43"/>
          <p:cNvSpPr/>
          <p:nvPr/>
        </p:nvSpPr>
        <p:spPr>
          <a:xfrm>
            <a:off x="228600" y="2944368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46" name="Text 44"/>
          <p:cNvSpPr/>
          <p:nvPr/>
        </p:nvSpPr>
        <p:spPr>
          <a:xfrm>
            <a:off x="731520" y="2935224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outes/tasks/filter</a:t>
            </a:r>
            <a:endParaRPr lang="en-US" sz="750" dirty="0"/>
          </a:p>
        </p:txBody>
      </p:sp>
      <p:sp>
        <p:nvSpPr>
          <p:cNvPr id="47" name="Text 45"/>
          <p:cNvSpPr/>
          <p:nvPr/>
        </p:nvSpPr>
        <p:spPr>
          <a:xfrm>
            <a:off x="3035808" y="2935224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approval tasks with JSON body + isFilteredByDomainAdmin</a:t>
            </a:r>
            <a:endParaRPr lang="en-US" sz="750" dirty="0"/>
          </a:p>
        </p:txBody>
      </p:sp>
      <p:sp>
        <p:nvSpPr>
          <p:cNvPr id="48" name="Shape 46"/>
          <p:cNvSpPr/>
          <p:nvPr/>
        </p:nvSpPr>
        <p:spPr>
          <a:xfrm>
            <a:off x="182880" y="3163824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9" name="Shape 47"/>
          <p:cNvSpPr/>
          <p:nvPr/>
        </p:nvSpPr>
        <p:spPr>
          <a:xfrm>
            <a:off x="228600" y="320040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0" name="Text 48"/>
          <p:cNvSpPr/>
          <p:nvPr/>
        </p:nvSpPr>
        <p:spPr>
          <a:xfrm>
            <a:off x="228600" y="320040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51" name="Text 49"/>
          <p:cNvSpPr/>
          <p:nvPr/>
        </p:nvSpPr>
        <p:spPr>
          <a:xfrm>
            <a:off x="731520" y="319125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outes/{id}</a:t>
            </a:r>
            <a:endParaRPr lang="en-US" sz="750" dirty="0"/>
          </a:p>
        </p:txBody>
      </p:sp>
      <p:sp>
        <p:nvSpPr>
          <p:cNvPr id="52" name="Text 50"/>
          <p:cNvSpPr/>
          <p:nvPr/>
        </p:nvSpPr>
        <p:spPr>
          <a:xfrm>
            <a:off x="3035808" y="319125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ute detail by route ID</a:t>
            </a:r>
            <a:endParaRPr lang="en-US" sz="750" dirty="0"/>
          </a:p>
        </p:txBody>
      </p:sp>
      <p:sp>
        <p:nvSpPr>
          <p:cNvPr id="53" name="Shape 51"/>
          <p:cNvSpPr/>
          <p:nvPr/>
        </p:nvSpPr>
        <p:spPr>
          <a:xfrm>
            <a:off x="4663440" y="548640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6366F1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4" name="Text 52"/>
          <p:cNvSpPr/>
          <p:nvPr/>
        </p:nvSpPr>
        <p:spPr>
          <a:xfrm>
            <a:off x="4754880" y="548640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ignatures &amp; Verification</a:t>
            </a:r>
            <a:endParaRPr lang="en-US" sz="900" dirty="0"/>
          </a:p>
        </p:txBody>
      </p:sp>
      <p:sp>
        <p:nvSpPr>
          <p:cNvPr id="55" name="Shape 53"/>
          <p:cNvSpPr/>
          <p:nvPr/>
        </p:nvSpPr>
        <p:spPr>
          <a:xfrm>
            <a:off x="4663440" y="786384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6" name="Shape 54"/>
          <p:cNvSpPr/>
          <p:nvPr/>
        </p:nvSpPr>
        <p:spPr>
          <a:xfrm>
            <a:off x="4709160" y="82296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7" name="Text 55"/>
          <p:cNvSpPr/>
          <p:nvPr/>
        </p:nvSpPr>
        <p:spPr>
          <a:xfrm>
            <a:off x="4709160" y="82296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58" name="Text 56"/>
          <p:cNvSpPr/>
          <p:nvPr/>
        </p:nvSpPr>
        <p:spPr>
          <a:xfrm>
            <a:off x="5212080" y="81381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signatures/{id}</a:t>
            </a:r>
            <a:endParaRPr lang="en-US" sz="750" dirty="0"/>
          </a:p>
        </p:txBody>
      </p:sp>
      <p:sp>
        <p:nvSpPr>
          <p:cNvPr id="59" name="Text 57"/>
          <p:cNvSpPr/>
          <p:nvPr/>
        </p:nvSpPr>
        <p:spPr>
          <a:xfrm>
            <a:off x="7516368" y="81381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a signature by ID</a:t>
            </a:r>
            <a:endParaRPr lang="en-US" sz="750" dirty="0"/>
          </a:p>
        </p:txBody>
      </p:sp>
      <p:sp>
        <p:nvSpPr>
          <p:cNvPr id="60" name="Shape 58"/>
          <p:cNvSpPr/>
          <p:nvPr/>
        </p:nvSpPr>
        <p:spPr>
          <a:xfrm>
            <a:off x="4663440" y="1042416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1" name="Shape 59"/>
          <p:cNvSpPr/>
          <p:nvPr/>
        </p:nvSpPr>
        <p:spPr>
          <a:xfrm>
            <a:off x="4709160" y="1078992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62" name="Text 60"/>
          <p:cNvSpPr/>
          <p:nvPr/>
        </p:nvSpPr>
        <p:spPr>
          <a:xfrm>
            <a:off x="4709160" y="1078992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63" name="Text 61"/>
          <p:cNvSpPr/>
          <p:nvPr/>
        </p:nvSpPr>
        <p:spPr>
          <a:xfrm>
            <a:off x="5212080" y="1069848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verification/filter</a:t>
            </a:r>
            <a:endParaRPr lang="en-US" sz="750" dirty="0"/>
          </a:p>
        </p:txBody>
      </p:sp>
      <p:sp>
        <p:nvSpPr>
          <p:cNvPr id="64" name="Text 62"/>
          <p:cNvSpPr/>
          <p:nvPr/>
        </p:nvSpPr>
        <p:spPr>
          <a:xfrm>
            <a:off x="7516368" y="1069848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signature verification rows</a:t>
            </a:r>
            <a:endParaRPr lang="en-US" sz="750" dirty="0"/>
          </a:p>
        </p:txBody>
      </p:sp>
      <p:sp>
        <p:nvSpPr>
          <p:cNvPr id="65" name="Shape 63"/>
          <p:cNvSpPr/>
          <p:nvPr/>
        </p:nvSpPr>
        <p:spPr>
          <a:xfrm>
            <a:off x="4663440" y="1298448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6" name="Shape 64"/>
          <p:cNvSpPr/>
          <p:nvPr/>
        </p:nvSpPr>
        <p:spPr>
          <a:xfrm>
            <a:off x="4709160" y="1335024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67" name="Text 65"/>
          <p:cNvSpPr/>
          <p:nvPr/>
        </p:nvSpPr>
        <p:spPr>
          <a:xfrm>
            <a:off x="4709160" y="1335024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68" name="Text 66"/>
          <p:cNvSpPr/>
          <p:nvPr/>
        </p:nvSpPr>
        <p:spPr>
          <a:xfrm>
            <a:off x="5212080" y="1325880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verification</a:t>
            </a:r>
            <a:endParaRPr lang="en-US" sz="750" dirty="0"/>
          </a:p>
        </p:txBody>
      </p:sp>
      <p:sp>
        <p:nvSpPr>
          <p:cNvPr id="69" name="Text 67"/>
          <p:cNvSpPr/>
          <p:nvPr/>
        </p:nvSpPr>
        <p:spPr>
          <a:xfrm>
            <a:off x="7516368" y="1325880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ification API root</a:t>
            </a:r>
            <a:endParaRPr lang="en-US" sz="750" dirty="0"/>
          </a:p>
        </p:txBody>
      </p:sp>
      <p:sp>
        <p:nvSpPr>
          <p:cNvPr id="70" name="Shape 68"/>
          <p:cNvSpPr/>
          <p:nvPr/>
        </p:nvSpPr>
        <p:spPr>
          <a:xfrm>
            <a:off x="4663440" y="1645920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B45309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1" name="Text 69"/>
          <p:cNvSpPr/>
          <p:nvPr/>
        </p:nvSpPr>
        <p:spPr>
          <a:xfrm>
            <a:off x="4754880" y="1645920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dit History</a:t>
            </a:r>
            <a:endParaRPr lang="en-US" sz="900" dirty="0"/>
          </a:p>
        </p:txBody>
      </p:sp>
      <p:sp>
        <p:nvSpPr>
          <p:cNvPr id="72" name="Shape 70"/>
          <p:cNvSpPr/>
          <p:nvPr/>
        </p:nvSpPr>
        <p:spPr>
          <a:xfrm>
            <a:off x="4663440" y="1883664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3" name="Shape 71"/>
          <p:cNvSpPr/>
          <p:nvPr/>
        </p:nvSpPr>
        <p:spPr>
          <a:xfrm>
            <a:off x="4709160" y="192024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4" name="Text 72"/>
          <p:cNvSpPr/>
          <p:nvPr/>
        </p:nvSpPr>
        <p:spPr>
          <a:xfrm>
            <a:off x="4709160" y="192024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75" name="Text 73"/>
          <p:cNvSpPr/>
          <p:nvPr/>
        </p:nvSpPr>
        <p:spPr>
          <a:xfrm>
            <a:off x="5212080" y="191109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audit-history/{pathSegments}</a:t>
            </a:r>
            <a:endParaRPr lang="en-US" sz="750" dirty="0"/>
          </a:p>
        </p:txBody>
      </p:sp>
      <p:sp>
        <p:nvSpPr>
          <p:cNvPr id="76" name="Text 74"/>
          <p:cNvSpPr/>
          <p:nvPr/>
        </p:nvSpPr>
        <p:spPr>
          <a:xfrm>
            <a:off x="7516368" y="191109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dit log (GET)</a:t>
            </a:r>
            <a:endParaRPr lang="en-US" sz="750" dirty="0"/>
          </a:p>
        </p:txBody>
      </p:sp>
      <p:sp>
        <p:nvSpPr>
          <p:cNvPr id="77" name="Shape 75"/>
          <p:cNvSpPr/>
          <p:nvPr/>
        </p:nvSpPr>
        <p:spPr>
          <a:xfrm>
            <a:off x="4663440" y="2139696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8" name="Shape 76"/>
          <p:cNvSpPr/>
          <p:nvPr/>
        </p:nvSpPr>
        <p:spPr>
          <a:xfrm>
            <a:off x="4709160" y="2176272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9" name="Text 77"/>
          <p:cNvSpPr/>
          <p:nvPr/>
        </p:nvSpPr>
        <p:spPr>
          <a:xfrm>
            <a:off x="4709160" y="2176272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80" name="Text 78"/>
          <p:cNvSpPr/>
          <p:nvPr/>
        </p:nvSpPr>
        <p:spPr>
          <a:xfrm>
            <a:off x="5212080" y="2167128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audit-history/{pathSegments}</a:t>
            </a:r>
            <a:endParaRPr lang="en-US" sz="750" dirty="0"/>
          </a:p>
        </p:txBody>
      </p:sp>
      <p:sp>
        <p:nvSpPr>
          <p:cNvPr id="81" name="Text 79"/>
          <p:cNvSpPr/>
          <p:nvPr/>
        </p:nvSpPr>
        <p:spPr>
          <a:xfrm>
            <a:off x="7516368" y="2167128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dit log (POST filter)</a:t>
            </a:r>
            <a:endParaRPr lang="en-US" sz="750" dirty="0"/>
          </a:p>
        </p:txBody>
      </p:sp>
      <p:sp>
        <p:nvSpPr>
          <p:cNvPr id="82" name="Shape 80"/>
          <p:cNvSpPr/>
          <p:nvPr/>
        </p:nvSpPr>
        <p:spPr>
          <a:xfrm>
            <a:off x="4663440" y="2487168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64748B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3" name="Text 81"/>
          <p:cNvSpPr/>
          <p:nvPr/>
        </p:nvSpPr>
        <p:spPr>
          <a:xfrm>
            <a:off x="4754880" y="2487168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ference Data</a:t>
            </a:r>
            <a:endParaRPr lang="en-US" sz="900" dirty="0"/>
          </a:p>
        </p:txBody>
      </p:sp>
      <p:sp>
        <p:nvSpPr>
          <p:cNvPr id="84" name="Shape 82"/>
          <p:cNvSpPr/>
          <p:nvPr/>
        </p:nvSpPr>
        <p:spPr>
          <a:xfrm>
            <a:off x="4663440" y="2724912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5" name="Shape 83"/>
          <p:cNvSpPr/>
          <p:nvPr/>
        </p:nvSpPr>
        <p:spPr>
          <a:xfrm>
            <a:off x="4709160" y="2761488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6" name="Text 84"/>
          <p:cNvSpPr/>
          <p:nvPr/>
        </p:nvSpPr>
        <p:spPr>
          <a:xfrm>
            <a:off x="4709160" y="2761488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87" name="Text 85"/>
          <p:cNvSpPr/>
          <p:nvPr/>
        </p:nvSpPr>
        <p:spPr>
          <a:xfrm>
            <a:off x="5212080" y="2752344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domains</a:t>
            </a:r>
            <a:endParaRPr lang="en-US" sz="750" dirty="0"/>
          </a:p>
        </p:txBody>
      </p:sp>
      <p:sp>
        <p:nvSpPr>
          <p:cNvPr id="88" name="Text 86"/>
          <p:cNvSpPr/>
          <p:nvPr/>
        </p:nvSpPr>
        <p:spPr>
          <a:xfrm>
            <a:off x="7516368" y="2752344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domains</a:t>
            </a:r>
            <a:endParaRPr lang="en-US" sz="750" dirty="0"/>
          </a:p>
        </p:txBody>
      </p:sp>
      <p:sp>
        <p:nvSpPr>
          <p:cNvPr id="89" name="Shape 87"/>
          <p:cNvSpPr/>
          <p:nvPr/>
        </p:nvSpPr>
        <p:spPr>
          <a:xfrm>
            <a:off x="4663440" y="2980944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0" name="Shape 88"/>
          <p:cNvSpPr/>
          <p:nvPr/>
        </p:nvSpPr>
        <p:spPr>
          <a:xfrm>
            <a:off x="4709160" y="301752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91" name="Text 89"/>
          <p:cNvSpPr/>
          <p:nvPr/>
        </p:nvSpPr>
        <p:spPr>
          <a:xfrm>
            <a:off x="4709160" y="301752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92" name="Text 90"/>
          <p:cNvSpPr/>
          <p:nvPr/>
        </p:nvSpPr>
        <p:spPr>
          <a:xfrm>
            <a:off x="5212080" y="300837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connections</a:t>
            </a:r>
            <a:endParaRPr lang="en-US" sz="750" dirty="0"/>
          </a:p>
        </p:txBody>
      </p:sp>
      <p:sp>
        <p:nvSpPr>
          <p:cNvPr id="93" name="Text 91"/>
          <p:cNvSpPr/>
          <p:nvPr/>
        </p:nvSpPr>
        <p:spPr>
          <a:xfrm>
            <a:off x="7516368" y="300837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connections</a:t>
            </a:r>
            <a:endParaRPr lang="en-US" sz="750" dirty="0"/>
          </a:p>
        </p:txBody>
      </p:sp>
      <p:sp>
        <p:nvSpPr>
          <p:cNvPr id="94" name="Shape 92"/>
          <p:cNvSpPr/>
          <p:nvPr/>
        </p:nvSpPr>
        <p:spPr>
          <a:xfrm>
            <a:off x="4663440" y="3236976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5" name="Shape 93"/>
          <p:cNvSpPr/>
          <p:nvPr/>
        </p:nvSpPr>
        <p:spPr>
          <a:xfrm>
            <a:off x="4709160" y="3273552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96" name="Text 94"/>
          <p:cNvSpPr/>
          <p:nvPr/>
        </p:nvSpPr>
        <p:spPr>
          <a:xfrm>
            <a:off x="4709160" y="3273552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97" name="Text 95"/>
          <p:cNvSpPr/>
          <p:nvPr/>
        </p:nvSpPr>
        <p:spPr>
          <a:xfrm>
            <a:off x="5212080" y="3264408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users</a:t>
            </a:r>
            <a:endParaRPr lang="en-US" sz="750" dirty="0"/>
          </a:p>
        </p:txBody>
      </p:sp>
      <p:sp>
        <p:nvSpPr>
          <p:cNvPr id="98" name="Text 96"/>
          <p:cNvSpPr/>
          <p:nvPr/>
        </p:nvSpPr>
        <p:spPr>
          <a:xfrm>
            <a:off x="7516368" y="3264408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st users</a:t>
            </a:r>
            <a:endParaRPr lang="en-US" sz="750" dirty="0"/>
          </a:p>
        </p:txBody>
      </p:sp>
      <p:sp>
        <p:nvSpPr>
          <p:cNvPr id="99" name="Shape 97"/>
          <p:cNvSpPr/>
          <p:nvPr/>
        </p:nvSpPr>
        <p:spPr>
          <a:xfrm>
            <a:off x="4663440" y="3493008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0" name="Shape 98"/>
          <p:cNvSpPr/>
          <p:nvPr/>
        </p:nvSpPr>
        <p:spPr>
          <a:xfrm>
            <a:off x="4709160" y="3529584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01" name="Text 99"/>
          <p:cNvSpPr/>
          <p:nvPr/>
        </p:nvSpPr>
        <p:spPr>
          <a:xfrm>
            <a:off x="4709160" y="3529584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102" name="Text 100"/>
          <p:cNvSpPr/>
          <p:nvPr/>
        </p:nvSpPr>
        <p:spPr>
          <a:xfrm>
            <a:off x="5212080" y="3520440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users/filter</a:t>
            </a:r>
            <a:endParaRPr lang="en-US" sz="750" dirty="0"/>
          </a:p>
        </p:txBody>
      </p:sp>
      <p:sp>
        <p:nvSpPr>
          <p:cNvPr id="103" name="Text 101"/>
          <p:cNvSpPr/>
          <p:nvPr/>
        </p:nvSpPr>
        <p:spPr>
          <a:xfrm>
            <a:off x="7516368" y="3520440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users</a:t>
            </a:r>
            <a:endParaRPr lang="en-US" sz="750" dirty="0"/>
          </a:p>
        </p:txBody>
      </p:sp>
      <p:sp>
        <p:nvSpPr>
          <p:cNvPr id="104" name="Shape 102"/>
          <p:cNvSpPr/>
          <p:nvPr/>
        </p:nvSpPr>
        <p:spPr>
          <a:xfrm>
            <a:off x="4663440" y="3749040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5" name="Shape 103"/>
          <p:cNvSpPr/>
          <p:nvPr/>
        </p:nvSpPr>
        <p:spPr>
          <a:xfrm>
            <a:off x="4709160" y="3785616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06" name="Text 104"/>
          <p:cNvSpPr/>
          <p:nvPr/>
        </p:nvSpPr>
        <p:spPr>
          <a:xfrm>
            <a:off x="4709160" y="3785616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00" dirty="0"/>
          </a:p>
        </p:txBody>
      </p:sp>
      <p:sp>
        <p:nvSpPr>
          <p:cNvPr id="107" name="Text 105"/>
          <p:cNvSpPr/>
          <p:nvPr/>
        </p:nvSpPr>
        <p:spPr>
          <a:xfrm>
            <a:off x="5212080" y="3776472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versions</a:t>
            </a:r>
            <a:endParaRPr lang="en-US" sz="750" dirty="0"/>
          </a:p>
        </p:txBody>
      </p:sp>
      <p:sp>
        <p:nvSpPr>
          <p:cNvPr id="108" name="Text 106"/>
          <p:cNvSpPr/>
          <p:nvPr/>
        </p:nvSpPr>
        <p:spPr>
          <a:xfrm>
            <a:off x="7516368" y="3776472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a Server module versions</a:t>
            </a:r>
            <a:endParaRPr lang="en-US" sz="750" dirty="0"/>
          </a:p>
        </p:txBody>
      </p:sp>
      <p:sp>
        <p:nvSpPr>
          <p:cNvPr id="109" name="Shape 107"/>
          <p:cNvSpPr/>
          <p:nvPr/>
        </p:nvSpPr>
        <p:spPr>
          <a:xfrm>
            <a:off x="182880" y="3511296"/>
            <a:ext cx="4434840" cy="219456"/>
          </a:xfrm>
          <a:prstGeom prst="roundRect">
            <a:avLst>
              <a:gd name="adj" fmla="val 16667"/>
            </a:avLst>
          </a:prstGeom>
          <a:solidFill>
            <a:srgbClr val="0891B2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0" name="Text 108"/>
          <p:cNvSpPr/>
          <p:nvPr/>
        </p:nvSpPr>
        <p:spPr>
          <a:xfrm>
            <a:off x="274320" y="3511296"/>
            <a:ext cx="42519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ocuments &amp; Workflows</a:t>
            </a:r>
            <a:endParaRPr lang="en-US" sz="900" dirty="0"/>
          </a:p>
        </p:txBody>
      </p:sp>
      <p:sp>
        <p:nvSpPr>
          <p:cNvPr id="111" name="Shape 109"/>
          <p:cNvSpPr/>
          <p:nvPr/>
        </p:nvSpPr>
        <p:spPr>
          <a:xfrm>
            <a:off x="182880" y="3749040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2" name="Shape 110"/>
          <p:cNvSpPr/>
          <p:nvPr/>
        </p:nvSpPr>
        <p:spPr>
          <a:xfrm>
            <a:off x="228600" y="3785616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3" name="Text 111"/>
          <p:cNvSpPr/>
          <p:nvPr/>
        </p:nvSpPr>
        <p:spPr>
          <a:xfrm>
            <a:off x="228600" y="3785616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114" name="Text 112"/>
          <p:cNvSpPr/>
          <p:nvPr/>
        </p:nvSpPr>
        <p:spPr>
          <a:xfrm>
            <a:off x="731520" y="3776472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documents/document-types/filter</a:t>
            </a:r>
            <a:endParaRPr lang="en-US" sz="750" dirty="0"/>
          </a:p>
        </p:txBody>
      </p:sp>
      <p:sp>
        <p:nvSpPr>
          <p:cNvPr id="115" name="Text 113"/>
          <p:cNvSpPr/>
          <p:nvPr/>
        </p:nvSpPr>
        <p:spPr>
          <a:xfrm>
            <a:off x="3035808" y="3776472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document types</a:t>
            </a:r>
            <a:endParaRPr lang="en-US" sz="750" dirty="0"/>
          </a:p>
        </p:txBody>
      </p:sp>
      <p:sp>
        <p:nvSpPr>
          <p:cNvPr id="116" name="Shape 114"/>
          <p:cNvSpPr/>
          <p:nvPr/>
        </p:nvSpPr>
        <p:spPr>
          <a:xfrm>
            <a:off x="182880" y="4005072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7" name="Shape 115"/>
          <p:cNvSpPr/>
          <p:nvPr/>
        </p:nvSpPr>
        <p:spPr>
          <a:xfrm>
            <a:off x="228600" y="4041648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8" name="Text 116"/>
          <p:cNvSpPr/>
          <p:nvPr/>
        </p:nvSpPr>
        <p:spPr>
          <a:xfrm>
            <a:off x="228600" y="4041648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119" name="Text 117"/>
          <p:cNvSpPr/>
          <p:nvPr/>
        </p:nvSpPr>
        <p:spPr>
          <a:xfrm>
            <a:off x="731520" y="4032504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documents/templates/filter</a:t>
            </a:r>
            <a:endParaRPr lang="en-US" sz="750" dirty="0"/>
          </a:p>
        </p:txBody>
      </p:sp>
      <p:sp>
        <p:nvSpPr>
          <p:cNvPr id="120" name="Text 118"/>
          <p:cNvSpPr/>
          <p:nvPr/>
        </p:nvSpPr>
        <p:spPr>
          <a:xfrm>
            <a:off x="3035808" y="4032504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document templates</a:t>
            </a:r>
            <a:endParaRPr lang="en-US" sz="750" dirty="0"/>
          </a:p>
        </p:txBody>
      </p:sp>
      <p:sp>
        <p:nvSpPr>
          <p:cNvPr id="121" name="Shape 119"/>
          <p:cNvSpPr/>
          <p:nvPr/>
        </p:nvSpPr>
        <p:spPr>
          <a:xfrm>
            <a:off x="182880" y="4261104"/>
            <a:ext cx="4434840" cy="24688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2" name="Shape 120"/>
          <p:cNvSpPr/>
          <p:nvPr/>
        </p:nvSpPr>
        <p:spPr>
          <a:xfrm>
            <a:off x="228600" y="4297680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23" name="Text 121"/>
          <p:cNvSpPr/>
          <p:nvPr/>
        </p:nvSpPr>
        <p:spPr>
          <a:xfrm>
            <a:off x="228600" y="4297680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124" name="Text 122"/>
          <p:cNvSpPr/>
          <p:nvPr/>
        </p:nvSpPr>
        <p:spPr>
          <a:xfrm>
            <a:off x="731520" y="4288536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workflows/filter</a:t>
            </a:r>
            <a:endParaRPr lang="en-US" sz="750" dirty="0"/>
          </a:p>
        </p:txBody>
      </p:sp>
      <p:sp>
        <p:nvSpPr>
          <p:cNvPr id="125" name="Text 123"/>
          <p:cNvSpPr/>
          <p:nvPr/>
        </p:nvSpPr>
        <p:spPr>
          <a:xfrm>
            <a:off x="3035808" y="4288536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workflows</a:t>
            </a:r>
            <a:endParaRPr lang="en-US" sz="750" dirty="0"/>
          </a:p>
        </p:txBody>
      </p:sp>
      <p:sp>
        <p:nvSpPr>
          <p:cNvPr id="126" name="Shape 124"/>
          <p:cNvSpPr/>
          <p:nvPr/>
        </p:nvSpPr>
        <p:spPr>
          <a:xfrm>
            <a:off x="182880" y="4517136"/>
            <a:ext cx="4434840" cy="246888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7" name="Shape 125"/>
          <p:cNvSpPr/>
          <p:nvPr/>
        </p:nvSpPr>
        <p:spPr>
          <a:xfrm>
            <a:off x="228600" y="4553712"/>
            <a:ext cx="457200" cy="173736"/>
          </a:xfrm>
          <a:prstGeom prst="roundRect">
            <a:avLst>
              <a:gd name="adj" fmla="val 15789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28" name="Text 126"/>
          <p:cNvSpPr/>
          <p:nvPr/>
        </p:nvSpPr>
        <p:spPr>
          <a:xfrm>
            <a:off x="228600" y="4553712"/>
            <a:ext cx="457200" cy="1737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00" dirty="0"/>
          </a:p>
        </p:txBody>
      </p:sp>
      <p:sp>
        <p:nvSpPr>
          <p:cNvPr id="129" name="Text 127"/>
          <p:cNvSpPr/>
          <p:nvPr/>
        </p:nvSpPr>
        <p:spPr>
          <a:xfrm>
            <a:off x="731520" y="4544568"/>
            <a:ext cx="228600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traceability/{pathSegments}</a:t>
            </a:r>
            <a:endParaRPr lang="en-US" sz="750" dirty="0"/>
          </a:p>
        </p:txBody>
      </p:sp>
      <p:sp>
        <p:nvSpPr>
          <p:cNvPr id="130" name="Text 128"/>
          <p:cNvSpPr/>
          <p:nvPr/>
        </p:nvSpPr>
        <p:spPr>
          <a:xfrm>
            <a:off x="3035808" y="4544568"/>
            <a:ext cx="1554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raceability filter</a:t>
            </a:r>
            <a:endParaRPr lang="en-US" sz="750" dirty="0"/>
          </a:p>
        </p:txBody>
      </p:sp>
      <p:sp>
        <p:nvSpPr>
          <p:cNvPr id="131" name="Shape 129"/>
          <p:cNvSpPr/>
          <p:nvPr/>
        </p:nvSpPr>
        <p:spPr>
          <a:xfrm>
            <a:off x="4878976" y="4041648"/>
            <a:ext cx="4082143" cy="713232"/>
          </a:xfrm>
          <a:prstGeom prst="roundRect">
            <a:avLst>
              <a:gd name="adj" fmla="val 50000"/>
            </a:avLst>
          </a:prstGeom>
          <a:solidFill>
            <a:srgbClr val="E6F4F6"/>
          </a:solidFill>
          <a:ln w="9525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32" name="Text 130"/>
          <p:cNvSpPr/>
          <p:nvPr/>
        </p:nvSpPr>
        <p:spPr>
          <a:xfrm>
            <a:off x="5101046" y="4261104"/>
            <a:ext cx="3689208" cy="3337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ll requests require Header: X-API-Key: &lt;your-</a:t>
            </a:r>
            <a:r>
              <a:rPr lang="en-US" sz="900" dirty="0" err="1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900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-key&gt;</a:t>
            </a:r>
          </a:p>
          <a:p>
            <a:pPr marL="0" indent="0">
              <a:buNone/>
            </a:pPr>
            <a:r>
              <a:rPr lang="en-US" sz="900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Base URL: https://&lt;yourco&gt;.tricentis.com/api/v1</a:t>
            </a:r>
            <a:endParaRPr lang="en-US" sz="900" dirty="0"/>
          </a:p>
        </p:txBody>
      </p:sp>
      <p:sp>
        <p:nvSpPr>
          <p:cNvPr id="133" name="Title 132">
            <a:extLst>
              <a:ext uri="{FF2B5EF4-FFF2-40B4-BE49-F238E27FC236}">
                <a16:creationId xmlns:a16="http://schemas.microsoft.com/office/drawing/2014/main" id="{F1356098-BB54-B571-9939-0D5FFCE3C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-155373"/>
            <a:ext cx="8158163" cy="535868"/>
          </a:xfrm>
        </p:spPr>
        <p:txBody>
          <a:bodyPr/>
          <a:lstStyle/>
          <a:p>
            <a:r>
              <a:rPr lang="en-US" dirty="0"/>
              <a:t>Complete API Endpoint Referenc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6"/>
          <p:cNvSpPr/>
          <p:nvPr/>
        </p:nvSpPr>
        <p:spPr>
          <a:xfrm>
            <a:off x="424545" y="96404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9" name="Shape 7"/>
          <p:cNvSpPr/>
          <p:nvPr/>
        </p:nvSpPr>
        <p:spPr>
          <a:xfrm>
            <a:off x="424545" y="96404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0" name="Text 8"/>
          <p:cNvSpPr/>
          <p:nvPr/>
        </p:nvSpPr>
        <p:spPr>
          <a:xfrm>
            <a:off x="424545" y="96404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1</a:t>
            </a:r>
            <a:endParaRPr lang="en-US" sz="900" dirty="0"/>
          </a:p>
        </p:txBody>
      </p:sp>
      <p:sp>
        <p:nvSpPr>
          <p:cNvPr id="11" name="Text 9"/>
          <p:cNvSpPr/>
          <p:nvPr/>
        </p:nvSpPr>
        <p:spPr>
          <a:xfrm>
            <a:off x="515985" y="125664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a API Overview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12" name="Shape 10"/>
          <p:cNvSpPr/>
          <p:nvPr/>
        </p:nvSpPr>
        <p:spPr>
          <a:xfrm>
            <a:off x="2847705" y="96404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3" name="Shape 11"/>
          <p:cNvSpPr/>
          <p:nvPr/>
        </p:nvSpPr>
        <p:spPr>
          <a:xfrm>
            <a:off x="2847705" y="96404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4" name="Text 12"/>
          <p:cNvSpPr/>
          <p:nvPr/>
        </p:nvSpPr>
        <p:spPr>
          <a:xfrm>
            <a:off x="2847705" y="96404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2</a:t>
            </a:r>
            <a:endParaRPr lang="en-US" sz="900" dirty="0"/>
          </a:p>
        </p:txBody>
      </p:sp>
      <p:sp>
        <p:nvSpPr>
          <p:cNvPr id="15" name="Text 13"/>
          <p:cNvSpPr/>
          <p:nvPr/>
        </p:nvSpPr>
        <p:spPr>
          <a:xfrm>
            <a:off x="2939145" y="125664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reating an API Key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16" name="Shape 14"/>
          <p:cNvSpPr/>
          <p:nvPr/>
        </p:nvSpPr>
        <p:spPr>
          <a:xfrm>
            <a:off x="424545" y="219848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7" name="Shape 15"/>
          <p:cNvSpPr/>
          <p:nvPr/>
        </p:nvSpPr>
        <p:spPr>
          <a:xfrm>
            <a:off x="424545" y="219848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424545" y="219848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3</a:t>
            </a:r>
            <a:endParaRPr lang="en-US" sz="900" dirty="0"/>
          </a:p>
        </p:txBody>
      </p:sp>
      <p:sp>
        <p:nvSpPr>
          <p:cNvPr id="19" name="Text 17"/>
          <p:cNvSpPr/>
          <p:nvPr/>
        </p:nvSpPr>
        <p:spPr>
          <a:xfrm>
            <a:off x="515985" y="249108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Approval Tasks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20" name="Shape 18"/>
          <p:cNvSpPr/>
          <p:nvPr/>
        </p:nvSpPr>
        <p:spPr>
          <a:xfrm>
            <a:off x="2847705" y="219848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1" name="Shape 19"/>
          <p:cNvSpPr/>
          <p:nvPr/>
        </p:nvSpPr>
        <p:spPr>
          <a:xfrm>
            <a:off x="2847705" y="219848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2" name="Text 20"/>
          <p:cNvSpPr/>
          <p:nvPr/>
        </p:nvSpPr>
        <p:spPr>
          <a:xfrm>
            <a:off x="2847705" y="219848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4</a:t>
            </a:r>
            <a:endParaRPr lang="en-US" sz="900" dirty="0"/>
          </a:p>
        </p:txBody>
      </p:sp>
      <p:sp>
        <p:nvSpPr>
          <p:cNvPr id="23" name="Text 21"/>
          <p:cNvSpPr/>
          <p:nvPr/>
        </p:nvSpPr>
        <p:spPr>
          <a:xfrm>
            <a:off x="2939145" y="249108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Records with Filters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24" name="Shape 22"/>
          <p:cNvSpPr/>
          <p:nvPr/>
        </p:nvSpPr>
        <p:spPr>
          <a:xfrm>
            <a:off x="424545" y="343292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5" name="Shape 23"/>
          <p:cNvSpPr/>
          <p:nvPr/>
        </p:nvSpPr>
        <p:spPr>
          <a:xfrm>
            <a:off x="424545" y="343292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6" name="Text 24"/>
          <p:cNvSpPr/>
          <p:nvPr/>
        </p:nvSpPr>
        <p:spPr>
          <a:xfrm>
            <a:off x="424545" y="343292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5</a:t>
            </a:r>
            <a:endParaRPr lang="en-US" sz="900" dirty="0"/>
          </a:p>
        </p:txBody>
      </p:sp>
      <p:sp>
        <p:nvSpPr>
          <p:cNvPr id="27" name="Text 25"/>
          <p:cNvSpPr/>
          <p:nvPr/>
        </p:nvSpPr>
        <p:spPr>
          <a:xfrm>
            <a:off x="515985" y="372552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Record Details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28" name="Shape 26"/>
          <p:cNvSpPr/>
          <p:nvPr/>
        </p:nvSpPr>
        <p:spPr>
          <a:xfrm>
            <a:off x="2847705" y="3432921"/>
            <a:ext cx="2331720" cy="1005840"/>
          </a:xfrm>
          <a:prstGeom prst="roundRect">
            <a:avLst>
              <a:gd name="adj" fmla="val 727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9" name="Shape 27"/>
          <p:cNvSpPr/>
          <p:nvPr/>
        </p:nvSpPr>
        <p:spPr>
          <a:xfrm>
            <a:off x="2847705" y="3432921"/>
            <a:ext cx="2331720" cy="256032"/>
          </a:xfrm>
          <a:prstGeom prst="rect">
            <a:avLst/>
          </a:prstGeom>
          <a:solidFill>
            <a:srgbClr val="1B365D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0" name="Text 28"/>
          <p:cNvSpPr/>
          <p:nvPr/>
        </p:nvSpPr>
        <p:spPr>
          <a:xfrm>
            <a:off x="2847705" y="3432921"/>
            <a:ext cx="233172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6</a:t>
            </a:r>
            <a:endParaRPr lang="en-US" sz="900" dirty="0"/>
          </a:p>
        </p:txBody>
      </p:sp>
      <p:sp>
        <p:nvSpPr>
          <p:cNvPr id="31" name="Text 29"/>
          <p:cNvSpPr/>
          <p:nvPr/>
        </p:nvSpPr>
        <p:spPr>
          <a:xfrm>
            <a:off x="2939145" y="3725529"/>
            <a:ext cx="214884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004C9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History &amp; Signatures</a:t>
            </a:r>
            <a:endParaRPr lang="en-US" sz="1100" dirty="0">
              <a:solidFill>
                <a:srgbClr val="004C97"/>
              </a:solidFill>
            </a:endParaRPr>
          </a:p>
        </p:txBody>
      </p:sp>
      <p:sp>
        <p:nvSpPr>
          <p:cNvPr id="38" name="Title 37">
            <a:extLst>
              <a:ext uri="{FF2B5EF4-FFF2-40B4-BE49-F238E27FC236}">
                <a16:creationId xmlns:a16="http://schemas.microsoft.com/office/drawing/2014/main" id="{9A785F19-2ABE-464E-C6F2-64D26AB15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you’ll lear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2"/>
          <p:cNvSpPr/>
          <p:nvPr/>
        </p:nvSpPr>
        <p:spPr>
          <a:xfrm>
            <a:off x="320040" y="566928"/>
            <a:ext cx="850392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en-US" sz="2200" dirty="0"/>
          </a:p>
        </p:txBody>
      </p:sp>
      <p:sp>
        <p:nvSpPr>
          <p:cNvPr id="5" name="Text 3"/>
          <p:cNvSpPr/>
          <p:nvPr/>
        </p:nvSpPr>
        <p:spPr>
          <a:xfrm>
            <a:off x="320040" y="1097283"/>
            <a:ext cx="850392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grammatic access to Vera records, approval tasks, signatures, and history — authenticated via API key, not user login. Read-only in this release.</a:t>
            </a:r>
            <a:endParaRPr lang="en-US" sz="1150" dirty="0"/>
          </a:p>
        </p:txBody>
      </p:sp>
      <p:sp>
        <p:nvSpPr>
          <p:cNvPr id="6" name="Shape 4"/>
          <p:cNvSpPr/>
          <p:nvPr/>
        </p:nvSpPr>
        <p:spPr>
          <a:xfrm>
            <a:off x="320040" y="1572771"/>
            <a:ext cx="1664208" cy="1874520"/>
          </a:xfrm>
          <a:prstGeom prst="roundRect">
            <a:avLst>
              <a:gd name="adj" fmla="val 43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411480" y="1664211"/>
            <a:ext cx="512064" cy="201168"/>
          </a:xfrm>
          <a:prstGeom prst="roundRect">
            <a:avLst>
              <a:gd name="adj" fmla="val 18182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6"/>
          <p:cNvSpPr/>
          <p:nvPr/>
        </p:nvSpPr>
        <p:spPr>
          <a:xfrm>
            <a:off x="411480" y="1664211"/>
            <a:ext cx="512064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750" dirty="0"/>
          </a:p>
        </p:txBody>
      </p:sp>
      <p:sp>
        <p:nvSpPr>
          <p:cNvPr id="9" name="Text 7"/>
          <p:cNvSpPr/>
          <p:nvPr/>
        </p:nvSpPr>
        <p:spPr>
          <a:xfrm>
            <a:off x="393192" y="1920243"/>
            <a:ext cx="151790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roval Tasks</a:t>
            </a:r>
            <a:endParaRPr lang="en-US" sz="1100" dirty="0"/>
          </a:p>
        </p:txBody>
      </p:sp>
      <p:sp>
        <p:nvSpPr>
          <p:cNvPr id="10" name="Text 8"/>
          <p:cNvSpPr/>
          <p:nvPr/>
        </p:nvSpPr>
        <p:spPr>
          <a:xfrm>
            <a:off x="393192" y="2267715"/>
            <a:ext cx="1517904" cy="10515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pending approval tasks using a structured JSON body. Supports dual-scope pattern for complete task coverage.</a:t>
            </a:r>
            <a:endParaRPr lang="en-US" sz="950" dirty="0"/>
          </a:p>
        </p:txBody>
      </p:sp>
      <p:sp>
        <p:nvSpPr>
          <p:cNvPr id="11" name="Shape 9"/>
          <p:cNvSpPr/>
          <p:nvPr/>
        </p:nvSpPr>
        <p:spPr>
          <a:xfrm>
            <a:off x="2034540" y="1572771"/>
            <a:ext cx="1664208" cy="1874520"/>
          </a:xfrm>
          <a:prstGeom prst="roundRect">
            <a:avLst>
              <a:gd name="adj" fmla="val 43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2" name="Shape 10"/>
          <p:cNvSpPr/>
          <p:nvPr/>
        </p:nvSpPr>
        <p:spPr>
          <a:xfrm>
            <a:off x="2125980" y="1664211"/>
            <a:ext cx="512064" cy="201168"/>
          </a:xfrm>
          <a:prstGeom prst="roundRect">
            <a:avLst>
              <a:gd name="adj" fmla="val 18182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3" name="Text 11"/>
          <p:cNvSpPr/>
          <p:nvPr/>
        </p:nvSpPr>
        <p:spPr>
          <a:xfrm>
            <a:off x="2125980" y="1664211"/>
            <a:ext cx="512064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50" dirty="0"/>
          </a:p>
        </p:txBody>
      </p:sp>
      <p:sp>
        <p:nvSpPr>
          <p:cNvPr id="14" name="Text 12"/>
          <p:cNvSpPr/>
          <p:nvPr/>
        </p:nvSpPr>
        <p:spPr>
          <a:xfrm>
            <a:off x="2107692" y="1920243"/>
            <a:ext cx="151790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s</a:t>
            </a:r>
            <a:endParaRPr lang="en-US" sz="1100" dirty="0"/>
          </a:p>
        </p:txBody>
      </p:sp>
      <p:sp>
        <p:nvSpPr>
          <p:cNvPr id="15" name="Text 13"/>
          <p:cNvSpPr/>
          <p:nvPr/>
        </p:nvSpPr>
        <p:spPr>
          <a:xfrm>
            <a:off x="2107692" y="2267715"/>
            <a:ext cx="1517904" cy="10515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earch and retrieve records by project, type, status, and name. Supports sort and formatted field values.</a:t>
            </a:r>
            <a:endParaRPr lang="en-US" sz="950" dirty="0"/>
          </a:p>
        </p:txBody>
      </p:sp>
      <p:sp>
        <p:nvSpPr>
          <p:cNvPr id="16" name="Shape 14"/>
          <p:cNvSpPr/>
          <p:nvPr/>
        </p:nvSpPr>
        <p:spPr>
          <a:xfrm>
            <a:off x="3749040" y="1572771"/>
            <a:ext cx="1664208" cy="1874520"/>
          </a:xfrm>
          <a:prstGeom prst="roundRect">
            <a:avLst>
              <a:gd name="adj" fmla="val 43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7" name="Shape 15"/>
          <p:cNvSpPr/>
          <p:nvPr/>
        </p:nvSpPr>
        <p:spPr>
          <a:xfrm>
            <a:off x="3840480" y="1664211"/>
            <a:ext cx="512064" cy="201168"/>
          </a:xfrm>
          <a:prstGeom prst="roundRect">
            <a:avLst>
              <a:gd name="adj" fmla="val 18182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3840480" y="1664211"/>
            <a:ext cx="512064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50" dirty="0"/>
          </a:p>
        </p:txBody>
      </p:sp>
      <p:sp>
        <p:nvSpPr>
          <p:cNvPr id="19" name="Text 17"/>
          <p:cNvSpPr/>
          <p:nvPr/>
        </p:nvSpPr>
        <p:spPr>
          <a:xfrm>
            <a:off x="3822192" y="1920243"/>
            <a:ext cx="151790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Details</a:t>
            </a:r>
            <a:endParaRPr lang="en-US" sz="1100" dirty="0"/>
          </a:p>
        </p:txBody>
      </p:sp>
      <p:sp>
        <p:nvSpPr>
          <p:cNvPr id="20" name="Text 18"/>
          <p:cNvSpPr/>
          <p:nvPr/>
        </p:nvSpPr>
        <p:spPr>
          <a:xfrm>
            <a:off x="3822192" y="2267715"/>
            <a:ext cx="1517904" cy="10515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full record data, field values, workflow state, execution logs, and nested test steps in a single call.</a:t>
            </a:r>
            <a:endParaRPr lang="en-US" sz="950" dirty="0"/>
          </a:p>
        </p:txBody>
      </p:sp>
      <p:sp>
        <p:nvSpPr>
          <p:cNvPr id="21" name="Shape 19"/>
          <p:cNvSpPr/>
          <p:nvPr/>
        </p:nvSpPr>
        <p:spPr>
          <a:xfrm>
            <a:off x="5463540" y="1572771"/>
            <a:ext cx="1664208" cy="1874520"/>
          </a:xfrm>
          <a:prstGeom prst="roundRect">
            <a:avLst>
              <a:gd name="adj" fmla="val 43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2" name="Shape 20"/>
          <p:cNvSpPr/>
          <p:nvPr/>
        </p:nvSpPr>
        <p:spPr>
          <a:xfrm>
            <a:off x="5554980" y="1664211"/>
            <a:ext cx="512064" cy="201168"/>
          </a:xfrm>
          <a:prstGeom prst="roundRect">
            <a:avLst>
              <a:gd name="adj" fmla="val 18182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3" name="Text 21"/>
          <p:cNvSpPr/>
          <p:nvPr/>
        </p:nvSpPr>
        <p:spPr>
          <a:xfrm>
            <a:off x="5554980" y="1664211"/>
            <a:ext cx="512064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50" dirty="0"/>
          </a:p>
        </p:txBody>
      </p:sp>
      <p:sp>
        <p:nvSpPr>
          <p:cNvPr id="24" name="Text 22"/>
          <p:cNvSpPr/>
          <p:nvPr/>
        </p:nvSpPr>
        <p:spPr>
          <a:xfrm>
            <a:off x="5536692" y="1920243"/>
            <a:ext cx="151790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utes &amp; Signatures</a:t>
            </a:r>
            <a:endParaRPr lang="en-US" sz="1100" dirty="0"/>
          </a:p>
        </p:txBody>
      </p:sp>
      <p:sp>
        <p:nvSpPr>
          <p:cNvPr id="25" name="Text 23"/>
          <p:cNvSpPr/>
          <p:nvPr/>
        </p:nvSpPr>
        <p:spPr>
          <a:xfrm>
            <a:off x="5536692" y="2267715"/>
            <a:ext cx="1517904" cy="10515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the full approval route: task groups, assignees, signatureId, and e-signature verification status.</a:t>
            </a:r>
            <a:endParaRPr lang="en-US" sz="950" dirty="0"/>
          </a:p>
        </p:txBody>
      </p:sp>
      <p:sp>
        <p:nvSpPr>
          <p:cNvPr id="26" name="Shape 24"/>
          <p:cNvSpPr/>
          <p:nvPr/>
        </p:nvSpPr>
        <p:spPr>
          <a:xfrm>
            <a:off x="7178040" y="1572771"/>
            <a:ext cx="1664208" cy="1874520"/>
          </a:xfrm>
          <a:prstGeom prst="roundRect">
            <a:avLst>
              <a:gd name="adj" fmla="val 43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7" name="Shape 25"/>
          <p:cNvSpPr/>
          <p:nvPr/>
        </p:nvSpPr>
        <p:spPr>
          <a:xfrm>
            <a:off x="7269480" y="1664211"/>
            <a:ext cx="512064" cy="201168"/>
          </a:xfrm>
          <a:prstGeom prst="roundRect">
            <a:avLst>
              <a:gd name="adj" fmla="val 18182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8" name="Text 26"/>
          <p:cNvSpPr/>
          <p:nvPr/>
        </p:nvSpPr>
        <p:spPr>
          <a:xfrm>
            <a:off x="7269480" y="1664211"/>
            <a:ext cx="512064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750" dirty="0"/>
          </a:p>
        </p:txBody>
      </p:sp>
      <p:sp>
        <p:nvSpPr>
          <p:cNvPr id="29" name="Text 27"/>
          <p:cNvSpPr/>
          <p:nvPr/>
        </p:nvSpPr>
        <p:spPr>
          <a:xfrm>
            <a:off x="7251192" y="1920243"/>
            <a:ext cx="1517904" cy="3108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istory</a:t>
            </a:r>
            <a:endParaRPr lang="en-US" sz="1100" dirty="0"/>
          </a:p>
        </p:txBody>
      </p:sp>
      <p:sp>
        <p:nvSpPr>
          <p:cNvPr id="30" name="Text 28"/>
          <p:cNvSpPr/>
          <p:nvPr/>
        </p:nvSpPr>
        <p:spPr>
          <a:xfrm>
            <a:off x="7251192" y="2267715"/>
            <a:ext cx="1517904" cy="10515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the complete audit trail — every status transition, who performed it, when it occurred.</a:t>
            </a:r>
            <a:endParaRPr lang="en-US" sz="950" dirty="0"/>
          </a:p>
        </p:txBody>
      </p:sp>
      <p:sp>
        <p:nvSpPr>
          <p:cNvPr id="31" name="Shape 29"/>
          <p:cNvSpPr/>
          <p:nvPr/>
        </p:nvSpPr>
        <p:spPr>
          <a:xfrm>
            <a:off x="320040" y="3566163"/>
            <a:ext cx="8503920" cy="1188720"/>
          </a:xfrm>
          <a:prstGeom prst="roundRect">
            <a:avLst>
              <a:gd name="adj" fmla="val 6154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32" name="Text 30"/>
          <p:cNvSpPr/>
          <p:nvPr/>
        </p:nvSpPr>
        <p:spPr>
          <a:xfrm>
            <a:off x="457200" y="3630171"/>
            <a:ext cx="274320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thentication</a:t>
            </a:r>
            <a:endParaRPr lang="en-US" sz="1000" dirty="0"/>
          </a:p>
        </p:txBody>
      </p:sp>
      <p:sp>
        <p:nvSpPr>
          <p:cNvPr id="33" name="Shape 31"/>
          <p:cNvSpPr/>
          <p:nvPr/>
        </p:nvSpPr>
        <p:spPr>
          <a:xfrm>
            <a:off x="457200" y="3867915"/>
            <a:ext cx="2743200" cy="237744"/>
          </a:xfrm>
          <a:prstGeom prst="roundRect">
            <a:avLst>
              <a:gd name="adj" fmla="val 23077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4" name="Text 32"/>
          <p:cNvSpPr/>
          <p:nvPr/>
        </p:nvSpPr>
        <p:spPr>
          <a:xfrm>
            <a:off x="566928" y="3941067"/>
            <a:ext cx="2523744" cy="914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X-API-Key: &lt;your-api-key&gt;</a:t>
            </a:r>
            <a:endParaRPr lang="en-US" sz="900" dirty="0"/>
          </a:p>
        </p:txBody>
      </p:sp>
      <p:sp>
        <p:nvSpPr>
          <p:cNvPr id="35" name="Text 33"/>
          <p:cNvSpPr/>
          <p:nvPr/>
        </p:nvSpPr>
        <p:spPr>
          <a:xfrm>
            <a:off x="457200" y="4133091"/>
            <a:ext cx="274320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i="1" dirty="0">
                <a:solidFill>
                  <a:srgbClr val="94A3B8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https://&lt;yourco&gt;.tricentis.com/api/v1/</a:t>
            </a:r>
            <a:endParaRPr lang="en-US" sz="800" dirty="0"/>
          </a:p>
        </p:txBody>
      </p:sp>
      <p:sp>
        <p:nvSpPr>
          <p:cNvPr id="36" name="Shape 34"/>
          <p:cNvSpPr/>
          <p:nvPr/>
        </p:nvSpPr>
        <p:spPr>
          <a:xfrm>
            <a:off x="457200" y="4343403"/>
            <a:ext cx="594360" cy="182880"/>
          </a:xfrm>
          <a:prstGeom prst="roundRect">
            <a:avLst>
              <a:gd name="adj" fmla="val 15000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7" name="Text 35"/>
          <p:cNvSpPr/>
          <p:nvPr/>
        </p:nvSpPr>
        <p:spPr>
          <a:xfrm>
            <a:off x="457200" y="4343403"/>
            <a:ext cx="5943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00</a:t>
            </a:r>
            <a:endParaRPr lang="en-US" sz="700" dirty="0"/>
          </a:p>
        </p:txBody>
      </p:sp>
      <p:sp>
        <p:nvSpPr>
          <p:cNvPr id="38" name="Shape 36"/>
          <p:cNvSpPr/>
          <p:nvPr/>
        </p:nvSpPr>
        <p:spPr>
          <a:xfrm>
            <a:off x="1115568" y="4343403"/>
            <a:ext cx="594360" cy="182880"/>
          </a:xfrm>
          <a:prstGeom prst="roundRect">
            <a:avLst>
              <a:gd name="adj" fmla="val 15000"/>
            </a:avLst>
          </a:prstGeom>
          <a:solidFill>
            <a:srgbClr val="DC2626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9" name="Text 37"/>
          <p:cNvSpPr/>
          <p:nvPr/>
        </p:nvSpPr>
        <p:spPr>
          <a:xfrm>
            <a:off x="1115568" y="4343403"/>
            <a:ext cx="5943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01</a:t>
            </a:r>
            <a:endParaRPr lang="en-US" sz="700" dirty="0"/>
          </a:p>
        </p:txBody>
      </p:sp>
      <p:sp>
        <p:nvSpPr>
          <p:cNvPr id="40" name="Shape 38"/>
          <p:cNvSpPr/>
          <p:nvPr/>
        </p:nvSpPr>
        <p:spPr>
          <a:xfrm>
            <a:off x="1773936" y="4343403"/>
            <a:ext cx="594360" cy="182880"/>
          </a:xfrm>
          <a:prstGeom prst="roundRect">
            <a:avLst>
              <a:gd name="adj" fmla="val 15000"/>
            </a:avLst>
          </a:prstGeom>
          <a:solidFill>
            <a:srgbClr val="DC2626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1" name="Text 39"/>
          <p:cNvSpPr/>
          <p:nvPr/>
        </p:nvSpPr>
        <p:spPr>
          <a:xfrm>
            <a:off x="1773936" y="4343403"/>
            <a:ext cx="5943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03</a:t>
            </a:r>
            <a:endParaRPr lang="en-US" sz="700" dirty="0"/>
          </a:p>
        </p:txBody>
      </p:sp>
      <p:sp>
        <p:nvSpPr>
          <p:cNvPr id="42" name="Shape 40"/>
          <p:cNvSpPr/>
          <p:nvPr/>
        </p:nvSpPr>
        <p:spPr>
          <a:xfrm>
            <a:off x="2432304" y="4343403"/>
            <a:ext cx="594360" cy="182880"/>
          </a:xfrm>
          <a:prstGeom prst="roundRect">
            <a:avLst>
              <a:gd name="adj" fmla="val 15000"/>
            </a:avLst>
          </a:prstGeom>
          <a:solidFill>
            <a:srgbClr val="B45309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3" name="Text 41"/>
          <p:cNvSpPr/>
          <p:nvPr/>
        </p:nvSpPr>
        <p:spPr>
          <a:xfrm>
            <a:off x="2432304" y="4343403"/>
            <a:ext cx="59436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29</a:t>
            </a:r>
            <a:endParaRPr lang="en-US" sz="700" dirty="0"/>
          </a:p>
        </p:txBody>
      </p:sp>
      <p:sp>
        <p:nvSpPr>
          <p:cNvPr id="44" name="Shape 42"/>
          <p:cNvSpPr/>
          <p:nvPr/>
        </p:nvSpPr>
        <p:spPr>
          <a:xfrm>
            <a:off x="3429000" y="3630171"/>
            <a:ext cx="2606040" cy="1042416"/>
          </a:xfrm>
          <a:prstGeom prst="roundRect">
            <a:avLst>
              <a:gd name="adj" fmla="val 4386"/>
            </a:avLst>
          </a:prstGeom>
          <a:solidFill>
            <a:srgbClr val="E6F4F6"/>
          </a:solidFill>
          <a:ln w="9525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5" name="Text 43"/>
          <p:cNvSpPr/>
          <p:nvPr/>
        </p:nvSpPr>
        <p:spPr>
          <a:xfrm>
            <a:off x="3566160" y="3657603"/>
            <a:ext cx="23317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gination</a:t>
            </a:r>
            <a:endParaRPr lang="en-US" sz="1000" dirty="0"/>
          </a:p>
        </p:txBody>
      </p:sp>
      <p:sp>
        <p:nvSpPr>
          <p:cNvPr id="46" name="Text 44"/>
          <p:cNvSpPr/>
          <p:nvPr/>
        </p:nvSpPr>
        <p:spPr>
          <a:xfrm>
            <a:off x="3566160" y="3895347"/>
            <a:ext cx="2331720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 </a:t>
            </a:r>
            <a:r>
              <a:rPr lang="en-US" sz="900" b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mit</a:t>
            </a: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and </a:t>
            </a:r>
            <a:r>
              <a:rPr lang="en-US" sz="900" b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kip</a:t>
            </a: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on every request.</a:t>
            </a:r>
            <a:endParaRPr lang="en-US" sz="900" dirty="0"/>
          </a:p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ncrement skip by limit on each call.</a:t>
            </a:r>
            <a:endParaRPr lang="en-US" sz="900" dirty="0"/>
          </a:p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oop until </a:t>
            </a:r>
            <a:endParaRPr lang="en-US" sz="900" dirty="0"/>
          </a:p>
          <a:p>
            <a:pPr marL="0" indent="0">
              <a:buNone/>
            </a:pPr>
            <a:r>
              <a:rPr lang="en-US" sz="900" b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ows.length &lt; limit</a:t>
            </a: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— that's the last page.</a:t>
            </a:r>
            <a:endParaRPr lang="en-US" sz="900" dirty="0"/>
          </a:p>
        </p:txBody>
      </p:sp>
      <p:sp>
        <p:nvSpPr>
          <p:cNvPr id="47" name="Shape 45"/>
          <p:cNvSpPr/>
          <p:nvPr/>
        </p:nvSpPr>
        <p:spPr>
          <a:xfrm>
            <a:off x="6217920" y="3630171"/>
            <a:ext cx="2468880" cy="1042416"/>
          </a:xfrm>
          <a:prstGeom prst="roundRect">
            <a:avLst>
              <a:gd name="adj" fmla="val 4386"/>
            </a:avLst>
          </a:prstGeom>
          <a:solidFill>
            <a:srgbClr val="FEF3C7"/>
          </a:solidFill>
          <a:ln w="9525">
            <a:solidFill>
              <a:srgbClr val="FCD34D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8" name="Text 46"/>
          <p:cNvSpPr/>
          <p:nvPr/>
        </p:nvSpPr>
        <p:spPr>
          <a:xfrm>
            <a:off x="6355080" y="3657603"/>
            <a:ext cx="219456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B4530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ate Limits</a:t>
            </a:r>
            <a:endParaRPr lang="en-US" sz="1000" dirty="0"/>
          </a:p>
        </p:txBody>
      </p:sp>
      <p:sp>
        <p:nvSpPr>
          <p:cNvPr id="49" name="Text 47"/>
          <p:cNvSpPr/>
          <p:nvPr/>
        </p:nvSpPr>
        <p:spPr>
          <a:xfrm>
            <a:off x="6355080" y="3895347"/>
            <a:ext cx="2194560" cy="71323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00" b="1" dirty="0">
                <a:solidFill>
                  <a:srgbClr val="B4530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fault: 100 requests/min per key.</a:t>
            </a:r>
            <a:endParaRPr lang="en-US" sz="900" dirty="0"/>
          </a:p>
          <a:p>
            <a:pPr marL="0" indent="0">
              <a:buNone/>
            </a:pPr>
            <a:r>
              <a:rPr lang="en-US" sz="900" dirty="0">
                <a:solidFill>
                  <a:srgbClr val="B4530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TTP 429 = Too Many Requests</a:t>
            </a:r>
            <a:endParaRPr lang="en-US" sz="900" dirty="0"/>
          </a:p>
        </p:txBody>
      </p:sp>
      <p:sp>
        <p:nvSpPr>
          <p:cNvPr id="50" name="Title 49">
            <a:extLst>
              <a:ext uri="{FF2B5EF4-FFF2-40B4-BE49-F238E27FC236}">
                <a16:creationId xmlns:a16="http://schemas.microsoft.com/office/drawing/2014/main" id="{7CAF7D42-963B-F337-7C07-A8E534D45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151598"/>
            <a:ext cx="8158163" cy="535868"/>
          </a:xfrm>
        </p:spPr>
        <p:txBody>
          <a:bodyPr/>
          <a:lstStyle/>
          <a:p>
            <a:r>
              <a:rPr lang="en-US" dirty="0"/>
              <a:t>What is the Vera Public API?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2"/>
          <p:cNvSpPr/>
          <p:nvPr/>
        </p:nvSpPr>
        <p:spPr>
          <a:xfrm>
            <a:off x="320040" y="566928"/>
            <a:ext cx="8503920" cy="594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en-US" sz="2200" dirty="0"/>
          </a:p>
        </p:txBody>
      </p:sp>
      <p:sp>
        <p:nvSpPr>
          <p:cNvPr id="5" name="Shape 3"/>
          <p:cNvSpPr/>
          <p:nvPr/>
        </p:nvSpPr>
        <p:spPr>
          <a:xfrm>
            <a:off x="320040" y="1103813"/>
            <a:ext cx="4160520" cy="1554480"/>
          </a:xfrm>
          <a:prstGeom prst="roundRect">
            <a:avLst>
              <a:gd name="adj" fmla="val 470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6" name="Shape 4"/>
          <p:cNvSpPr/>
          <p:nvPr/>
        </p:nvSpPr>
        <p:spPr>
          <a:xfrm>
            <a:off x="484632" y="1268405"/>
            <a:ext cx="384048" cy="384048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" name="Text 5"/>
          <p:cNvSpPr/>
          <p:nvPr/>
        </p:nvSpPr>
        <p:spPr>
          <a:xfrm>
            <a:off x="484632" y="1268405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3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en-US" sz="1300" dirty="0"/>
          </a:p>
        </p:txBody>
      </p:sp>
      <p:sp>
        <p:nvSpPr>
          <p:cNvPr id="8" name="Text 6"/>
          <p:cNvSpPr/>
          <p:nvPr/>
        </p:nvSpPr>
        <p:spPr>
          <a:xfrm>
            <a:off x="978408" y="1250117"/>
            <a:ext cx="33375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o to Admin Area</a:t>
            </a:r>
            <a:endParaRPr lang="en-US" sz="1200" dirty="0"/>
          </a:p>
        </p:txBody>
      </p:sp>
      <p:sp>
        <p:nvSpPr>
          <p:cNvPr id="9" name="Text 7"/>
          <p:cNvSpPr/>
          <p:nvPr/>
        </p:nvSpPr>
        <p:spPr>
          <a:xfrm>
            <a:off x="978408" y="1634165"/>
            <a:ext cx="333756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ministration → API Keys</a:t>
            </a:r>
            <a:endParaRPr lang="en-US" sz="1050" dirty="0"/>
          </a:p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(requires Site Administrator role)</a:t>
            </a:r>
            <a:endParaRPr lang="en-US" sz="1050" dirty="0"/>
          </a:p>
        </p:txBody>
      </p:sp>
      <p:sp>
        <p:nvSpPr>
          <p:cNvPr id="10" name="Shape 8"/>
          <p:cNvSpPr/>
          <p:nvPr/>
        </p:nvSpPr>
        <p:spPr>
          <a:xfrm>
            <a:off x="4663440" y="1103813"/>
            <a:ext cx="4160520" cy="1554480"/>
          </a:xfrm>
          <a:prstGeom prst="roundRect">
            <a:avLst>
              <a:gd name="adj" fmla="val 470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1" name="Shape 9"/>
          <p:cNvSpPr/>
          <p:nvPr/>
        </p:nvSpPr>
        <p:spPr>
          <a:xfrm>
            <a:off x="4828032" y="1268405"/>
            <a:ext cx="384048" cy="384048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2" name="Text 10"/>
          <p:cNvSpPr/>
          <p:nvPr/>
        </p:nvSpPr>
        <p:spPr>
          <a:xfrm>
            <a:off x="4828032" y="1268405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3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en-US" sz="1300" dirty="0"/>
          </a:p>
        </p:txBody>
      </p:sp>
      <p:sp>
        <p:nvSpPr>
          <p:cNvPr id="13" name="Text 11"/>
          <p:cNvSpPr/>
          <p:nvPr/>
        </p:nvSpPr>
        <p:spPr>
          <a:xfrm>
            <a:off x="5321808" y="1250117"/>
            <a:ext cx="33375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lick Create API Key</a:t>
            </a:r>
            <a:endParaRPr lang="en-US" sz="1200" dirty="0"/>
          </a:p>
        </p:txBody>
      </p:sp>
      <p:sp>
        <p:nvSpPr>
          <p:cNvPr id="14" name="Text 12"/>
          <p:cNvSpPr/>
          <p:nvPr/>
        </p:nvSpPr>
        <p:spPr>
          <a:xfrm>
            <a:off x="5321808" y="1634165"/>
            <a:ext cx="333756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l in: Name, Description, User (whose permissions it inherits), Scopes, Expiration, Rate limit override, IP allowlist</a:t>
            </a:r>
            <a:endParaRPr lang="en-US" sz="1050" dirty="0"/>
          </a:p>
        </p:txBody>
      </p:sp>
      <p:sp>
        <p:nvSpPr>
          <p:cNvPr id="15" name="Shape 13"/>
          <p:cNvSpPr/>
          <p:nvPr/>
        </p:nvSpPr>
        <p:spPr>
          <a:xfrm>
            <a:off x="320040" y="2841173"/>
            <a:ext cx="4160520" cy="1554480"/>
          </a:xfrm>
          <a:prstGeom prst="roundRect">
            <a:avLst>
              <a:gd name="adj" fmla="val 470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6" name="Shape 14"/>
          <p:cNvSpPr/>
          <p:nvPr/>
        </p:nvSpPr>
        <p:spPr>
          <a:xfrm>
            <a:off x="484632" y="3005765"/>
            <a:ext cx="384048" cy="384048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7" name="Text 15"/>
          <p:cNvSpPr/>
          <p:nvPr/>
        </p:nvSpPr>
        <p:spPr>
          <a:xfrm>
            <a:off x="484632" y="3005765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3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1300" dirty="0"/>
          </a:p>
        </p:txBody>
      </p:sp>
      <p:sp>
        <p:nvSpPr>
          <p:cNvPr id="18" name="Text 16"/>
          <p:cNvSpPr/>
          <p:nvPr/>
        </p:nvSpPr>
        <p:spPr>
          <a:xfrm>
            <a:off x="978408" y="2987477"/>
            <a:ext cx="33375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py the key — once only!</a:t>
            </a:r>
            <a:endParaRPr lang="en-US" sz="1200" dirty="0"/>
          </a:p>
        </p:txBody>
      </p:sp>
      <p:sp>
        <p:nvSpPr>
          <p:cNvPr id="19" name="Text 17"/>
          <p:cNvSpPr/>
          <p:nvPr/>
        </p:nvSpPr>
        <p:spPr>
          <a:xfrm>
            <a:off x="978408" y="3371525"/>
            <a:ext cx="333756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a shows the full key value once.</a:t>
            </a:r>
            <a:endParaRPr lang="en-US" sz="1050" dirty="0"/>
          </a:p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ore it in a secure vault immediately.</a:t>
            </a:r>
            <a:endParaRPr lang="en-US" sz="1050" dirty="0"/>
          </a:p>
        </p:txBody>
      </p:sp>
      <p:sp>
        <p:nvSpPr>
          <p:cNvPr id="20" name="Shape 18"/>
          <p:cNvSpPr/>
          <p:nvPr/>
        </p:nvSpPr>
        <p:spPr>
          <a:xfrm>
            <a:off x="4663440" y="2841173"/>
            <a:ext cx="4160520" cy="1554480"/>
          </a:xfrm>
          <a:prstGeom prst="roundRect">
            <a:avLst>
              <a:gd name="adj" fmla="val 470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1" name="Shape 19"/>
          <p:cNvSpPr/>
          <p:nvPr/>
        </p:nvSpPr>
        <p:spPr>
          <a:xfrm>
            <a:off x="4828032" y="3005765"/>
            <a:ext cx="384048" cy="384048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2" name="Text 20"/>
          <p:cNvSpPr/>
          <p:nvPr/>
        </p:nvSpPr>
        <p:spPr>
          <a:xfrm>
            <a:off x="4828032" y="3005765"/>
            <a:ext cx="38404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3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</a:t>
            </a:r>
            <a:endParaRPr lang="en-US" sz="1300" dirty="0"/>
          </a:p>
        </p:txBody>
      </p:sp>
      <p:sp>
        <p:nvSpPr>
          <p:cNvPr id="23" name="Text 21"/>
          <p:cNvSpPr/>
          <p:nvPr/>
        </p:nvSpPr>
        <p:spPr>
          <a:xfrm>
            <a:off x="5321808" y="2987477"/>
            <a:ext cx="33375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et in Postman</a:t>
            </a:r>
            <a:endParaRPr lang="en-US" sz="1200" dirty="0"/>
          </a:p>
        </p:txBody>
      </p:sp>
      <p:sp>
        <p:nvSpPr>
          <p:cNvPr id="24" name="Text 22"/>
          <p:cNvSpPr/>
          <p:nvPr/>
        </p:nvSpPr>
        <p:spPr>
          <a:xfrm>
            <a:off x="5321808" y="3371525"/>
            <a:ext cx="333756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llection → Variables tab</a:t>
            </a:r>
            <a:endParaRPr lang="en-US" sz="1050" dirty="0"/>
          </a:p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iKey  →  paste your key here</a:t>
            </a:r>
            <a:endParaRPr lang="en-US" sz="1050" dirty="0"/>
          </a:p>
        </p:txBody>
      </p:sp>
      <p:sp>
        <p:nvSpPr>
          <p:cNvPr id="25" name="Text 23"/>
          <p:cNvSpPr/>
          <p:nvPr/>
        </p:nvSpPr>
        <p:spPr>
          <a:xfrm>
            <a:off x="320040" y="4487093"/>
            <a:ext cx="14630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Statuses:</a:t>
            </a:r>
            <a:endParaRPr lang="en-US" sz="1000" dirty="0"/>
          </a:p>
        </p:txBody>
      </p:sp>
      <p:sp>
        <p:nvSpPr>
          <p:cNvPr id="26" name="Shape 24"/>
          <p:cNvSpPr/>
          <p:nvPr/>
        </p:nvSpPr>
        <p:spPr>
          <a:xfrm>
            <a:off x="1737360" y="4487093"/>
            <a:ext cx="1353312" cy="256032"/>
          </a:xfrm>
          <a:prstGeom prst="roundRect">
            <a:avLst>
              <a:gd name="adj" fmla="val 17857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7" name="Text 25"/>
          <p:cNvSpPr/>
          <p:nvPr/>
        </p:nvSpPr>
        <p:spPr>
          <a:xfrm>
            <a:off x="1737360" y="4487093"/>
            <a:ext cx="1353312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ctive</a:t>
            </a:r>
            <a:endParaRPr lang="en-US" sz="900" dirty="0"/>
          </a:p>
        </p:txBody>
      </p:sp>
      <p:sp>
        <p:nvSpPr>
          <p:cNvPr id="28" name="Shape 26"/>
          <p:cNvSpPr/>
          <p:nvPr/>
        </p:nvSpPr>
        <p:spPr>
          <a:xfrm>
            <a:off x="3182112" y="4487093"/>
            <a:ext cx="1353312" cy="256032"/>
          </a:xfrm>
          <a:prstGeom prst="roundRect">
            <a:avLst>
              <a:gd name="adj" fmla="val 17857"/>
            </a:avLst>
          </a:prstGeom>
          <a:solidFill>
            <a:srgbClr val="B45309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9" name="Text 27"/>
          <p:cNvSpPr/>
          <p:nvPr/>
        </p:nvSpPr>
        <p:spPr>
          <a:xfrm>
            <a:off x="3182112" y="4487093"/>
            <a:ext cx="1353312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piring Soon</a:t>
            </a:r>
            <a:endParaRPr lang="en-US" sz="900" dirty="0"/>
          </a:p>
        </p:txBody>
      </p:sp>
      <p:sp>
        <p:nvSpPr>
          <p:cNvPr id="30" name="Shape 28"/>
          <p:cNvSpPr/>
          <p:nvPr/>
        </p:nvSpPr>
        <p:spPr>
          <a:xfrm>
            <a:off x="4626864" y="4487093"/>
            <a:ext cx="1353312" cy="256032"/>
          </a:xfrm>
          <a:prstGeom prst="roundRect">
            <a:avLst>
              <a:gd name="adj" fmla="val 17857"/>
            </a:avLst>
          </a:prstGeom>
          <a:solidFill>
            <a:srgbClr val="DC2626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1" name="Text 29"/>
          <p:cNvSpPr/>
          <p:nvPr/>
        </p:nvSpPr>
        <p:spPr>
          <a:xfrm>
            <a:off x="4626864" y="4487093"/>
            <a:ext cx="1353312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pired</a:t>
            </a:r>
            <a:endParaRPr lang="en-US" sz="900" dirty="0"/>
          </a:p>
        </p:txBody>
      </p:sp>
      <p:sp>
        <p:nvSpPr>
          <p:cNvPr id="32" name="Shape 30"/>
          <p:cNvSpPr/>
          <p:nvPr/>
        </p:nvSpPr>
        <p:spPr>
          <a:xfrm>
            <a:off x="6071616" y="4487093"/>
            <a:ext cx="1353312" cy="256032"/>
          </a:xfrm>
          <a:prstGeom prst="roundRect">
            <a:avLst>
              <a:gd name="adj" fmla="val 17857"/>
            </a:avLst>
          </a:prstGeom>
          <a:solidFill>
            <a:srgbClr val="64748B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3" name="Text 31"/>
          <p:cNvSpPr/>
          <p:nvPr/>
        </p:nvSpPr>
        <p:spPr>
          <a:xfrm>
            <a:off x="6071616" y="4487093"/>
            <a:ext cx="1353312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nactive</a:t>
            </a:r>
            <a:endParaRPr lang="en-US" sz="900" dirty="0"/>
          </a:p>
        </p:txBody>
      </p:sp>
      <p:sp>
        <p:nvSpPr>
          <p:cNvPr id="34" name="Shape 32"/>
          <p:cNvSpPr/>
          <p:nvPr/>
        </p:nvSpPr>
        <p:spPr>
          <a:xfrm>
            <a:off x="7516368" y="4487093"/>
            <a:ext cx="1353312" cy="256032"/>
          </a:xfrm>
          <a:prstGeom prst="roundRect">
            <a:avLst>
              <a:gd name="adj" fmla="val 17857"/>
            </a:avLst>
          </a:prstGeom>
          <a:solidFill>
            <a:srgbClr val="991B1B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5" name="Text 33"/>
          <p:cNvSpPr/>
          <p:nvPr/>
        </p:nvSpPr>
        <p:spPr>
          <a:xfrm>
            <a:off x="7516368" y="4487093"/>
            <a:ext cx="1353312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voked</a:t>
            </a:r>
            <a:endParaRPr lang="en-US" sz="900" dirty="0"/>
          </a:p>
        </p:txBody>
      </p:sp>
      <p:sp>
        <p:nvSpPr>
          <p:cNvPr id="36" name="Title 35">
            <a:extLst>
              <a:ext uri="{FF2B5EF4-FFF2-40B4-BE49-F238E27FC236}">
                <a16:creationId xmlns:a16="http://schemas.microsoft.com/office/drawing/2014/main" id="{00BEC606-8F1F-89A1-F299-61581EDEB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n API Key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2"/>
          <p:cNvSpPr/>
          <p:nvPr/>
        </p:nvSpPr>
        <p:spPr>
          <a:xfrm>
            <a:off x="320040" y="209011"/>
            <a:ext cx="8503920" cy="42062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Shape 3"/>
          <p:cNvSpPr/>
          <p:nvPr/>
        </p:nvSpPr>
        <p:spPr>
          <a:xfrm>
            <a:off x="320040" y="534283"/>
            <a:ext cx="8503920" cy="402336"/>
          </a:xfrm>
          <a:prstGeom prst="roundRect">
            <a:avLst>
              <a:gd name="adj" fmla="val 18182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6" name="Shape 4"/>
          <p:cNvSpPr/>
          <p:nvPr/>
        </p:nvSpPr>
        <p:spPr>
          <a:xfrm>
            <a:off x="457200" y="616579"/>
            <a:ext cx="548640" cy="219456"/>
          </a:xfrm>
          <a:prstGeom prst="roundRect">
            <a:avLst>
              <a:gd name="adj" fmla="val 16667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" name="Text 5"/>
          <p:cNvSpPr/>
          <p:nvPr/>
        </p:nvSpPr>
        <p:spPr>
          <a:xfrm>
            <a:off x="457200" y="616579"/>
            <a:ext cx="54864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T</a:t>
            </a:r>
            <a:endParaRPr lang="en-US" sz="800" dirty="0"/>
          </a:p>
        </p:txBody>
      </p:sp>
      <p:sp>
        <p:nvSpPr>
          <p:cNvPr id="8" name="Text 6"/>
          <p:cNvSpPr/>
          <p:nvPr/>
        </p:nvSpPr>
        <p:spPr>
          <a:xfrm>
            <a:off x="1078992" y="580003"/>
            <a:ext cx="758952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outes/tasks/filter?isFilteredByDomainAdmin=true | false</a:t>
            </a:r>
            <a:endParaRPr lang="en-US" sz="1100" dirty="0"/>
          </a:p>
        </p:txBody>
      </p:sp>
      <p:sp>
        <p:nvSpPr>
          <p:cNvPr id="11" name="Shape 9"/>
          <p:cNvSpPr/>
          <p:nvPr/>
        </p:nvSpPr>
        <p:spPr>
          <a:xfrm>
            <a:off x="320040" y="977108"/>
            <a:ext cx="4160520" cy="3413974"/>
          </a:xfrm>
          <a:prstGeom prst="roundRect">
            <a:avLst>
              <a:gd name="adj" fmla="val 2817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2" name="Text 10"/>
          <p:cNvSpPr/>
          <p:nvPr/>
        </p:nvSpPr>
        <p:spPr>
          <a:xfrm>
            <a:off x="457200" y="1626630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quest Body (JSON)</a:t>
            </a:r>
            <a:endParaRPr lang="en-US" sz="1050" dirty="0"/>
          </a:p>
        </p:txBody>
      </p:sp>
      <p:sp>
        <p:nvSpPr>
          <p:cNvPr id="13" name="Shape 11"/>
          <p:cNvSpPr/>
          <p:nvPr/>
        </p:nvSpPr>
        <p:spPr>
          <a:xfrm>
            <a:off x="457200" y="1882662"/>
            <a:ext cx="3913632" cy="2431432"/>
          </a:xfrm>
          <a:prstGeom prst="roundRect">
            <a:avLst>
              <a:gd name="adj" fmla="val 2632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 12"/>
          <p:cNvSpPr/>
          <p:nvPr/>
        </p:nvSpPr>
        <p:spPr>
          <a:xfrm>
            <a:off x="566928" y="1964866"/>
            <a:ext cx="3694176" cy="233587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filter": {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operator": "AND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items": [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{"field":"project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 "</a:t>
            </a:r>
            <a:r>
              <a:rPr lang="en-US" sz="85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operator":"Equals","value":“LIMS</a:t>
            </a: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}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{"field":"meaning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 "operator":"Contains","value":"Technical"}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{"field":"recordType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 "operator":"Equals","value":"qTest Test Case"}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{"field":"timestamp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 "operator":"LessThan","value":"2026-06-17"}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]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}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sort":[{"field":"timestamp","order":"asc"}]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limit":25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skip":0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}</a:t>
            </a:r>
            <a:endParaRPr lang="en-US" sz="850" dirty="0"/>
          </a:p>
        </p:txBody>
      </p:sp>
      <p:sp>
        <p:nvSpPr>
          <p:cNvPr id="15" name="Shape 13"/>
          <p:cNvSpPr/>
          <p:nvPr/>
        </p:nvSpPr>
        <p:spPr>
          <a:xfrm>
            <a:off x="4663440" y="1741282"/>
            <a:ext cx="4160520" cy="2649800"/>
          </a:xfrm>
          <a:prstGeom prst="roundRect">
            <a:avLst>
              <a:gd name="adj" fmla="val 372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6" name="Text 14"/>
          <p:cNvSpPr/>
          <p:nvPr/>
        </p:nvSpPr>
        <p:spPr>
          <a:xfrm>
            <a:off x="4800600" y="1757264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sponse</a:t>
            </a:r>
            <a:endParaRPr lang="en-US" sz="1050" dirty="0"/>
          </a:p>
        </p:txBody>
      </p:sp>
      <p:sp>
        <p:nvSpPr>
          <p:cNvPr id="17" name="Shape 15"/>
          <p:cNvSpPr/>
          <p:nvPr/>
        </p:nvSpPr>
        <p:spPr>
          <a:xfrm>
            <a:off x="4800600" y="2003506"/>
            <a:ext cx="3913632" cy="2297232"/>
          </a:xfrm>
          <a:prstGeom prst="roundRect">
            <a:avLst>
              <a:gd name="adj" fmla="val 3571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4910328" y="2030847"/>
            <a:ext cx="3694176" cy="13898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correlationId": "00000000-...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rows": [{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_id": "0c266ba9-bd8b-4658...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system": "qTest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timestamp": "2026-06-19T19:51:03Z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recordId": "bdd01469-2dcf-41ca...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recordName": "TC-2 - Test Case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meaning": "Technical Approval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recordType": "qTest Test Case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assignee": “</a:t>
            </a:r>
            <a:r>
              <a:rPr lang="en-US" sz="83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jsmith</a:t>
            </a: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"role": "Technical"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}],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total": 1</a:t>
            </a:r>
            <a:endParaRPr lang="en-US" sz="830" dirty="0"/>
          </a:p>
          <a:p>
            <a:pPr marL="0" indent="0">
              <a:buNone/>
            </a:pPr>
            <a:r>
              <a:rPr lang="en-US" sz="83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}</a:t>
            </a:r>
            <a:endParaRPr lang="en-US" sz="830" dirty="0"/>
          </a:p>
        </p:txBody>
      </p:sp>
      <p:sp>
        <p:nvSpPr>
          <p:cNvPr id="31" name="Shape 17"/>
          <p:cNvSpPr/>
          <p:nvPr/>
        </p:nvSpPr>
        <p:spPr>
          <a:xfrm>
            <a:off x="4663440" y="977108"/>
            <a:ext cx="4160520" cy="661186"/>
          </a:xfrm>
          <a:prstGeom prst="roundRect">
            <a:avLst>
              <a:gd name="adj" fmla="val 13333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32" name="Text 18"/>
          <p:cNvSpPr/>
          <p:nvPr/>
        </p:nvSpPr>
        <p:spPr>
          <a:xfrm>
            <a:off x="4800600" y="977108"/>
            <a:ext cx="38404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050" dirty="0"/>
          </a:p>
        </p:txBody>
      </p:sp>
      <p:sp>
        <p:nvSpPr>
          <p:cNvPr id="33" name="Text 19"/>
          <p:cNvSpPr/>
          <p:nvPr/>
        </p:nvSpPr>
        <p:spPr>
          <a:xfrm>
            <a:off x="4800600" y="1214852"/>
            <a:ext cx="1371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_id</a:t>
            </a:r>
            <a:endParaRPr lang="en-US" sz="800" dirty="0"/>
          </a:p>
        </p:txBody>
      </p:sp>
      <p:sp>
        <p:nvSpPr>
          <p:cNvPr id="34" name="Text 20"/>
          <p:cNvSpPr/>
          <p:nvPr/>
        </p:nvSpPr>
        <p:spPr>
          <a:xfrm>
            <a:off x="6190488" y="1214852"/>
            <a:ext cx="2514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ask ID</a:t>
            </a:r>
            <a:endParaRPr lang="en-US" sz="800" dirty="0"/>
          </a:p>
        </p:txBody>
      </p:sp>
      <p:sp>
        <p:nvSpPr>
          <p:cNvPr id="35" name="Text 21"/>
          <p:cNvSpPr/>
          <p:nvPr/>
        </p:nvSpPr>
        <p:spPr>
          <a:xfrm>
            <a:off x="4800600" y="1306292"/>
            <a:ext cx="1371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800" dirty="0"/>
          </a:p>
        </p:txBody>
      </p:sp>
      <p:sp>
        <p:nvSpPr>
          <p:cNvPr id="36" name="Text 22"/>
          <p:cNvSpPr/>
          <p:nvPr/>
        </p:nvSpPr>
        <p:spPr>
          <a:xfrm>
            <a:off x="6190488" y="1306292"/>
            <a:ext cx="2514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roval step name</a:t>
            </a:r>
            <a:endParaRPr lang="en-US" sz="800" dirty="0"/>
          </a:p>
        </p:txBody>
      </p:sp>
      <p:sp>
        <p:nvSpPr>
          <p:cNvPr id="37" name="Text 23"/>
          <p:cNvSpPr/>
          <p:nvPr/>
        </p:nvSpPr>
        <p:spPr>
          <a:xfrm>
            <a:off x="4800600" y="1397732"/>
            <a:ext cx="1371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800" dirty="0"/>
          </a:p>
        </p:txBody>
      </p:sp>
      <p:sp>
        <p:nvSpPr>
          <p:cNvPr id="38" name="Text 24"/>
          <p:cNvSpPr/>
          <p:nvPr/>
        </p:nvSpPr>
        <p:spPr>
          <a:xfrm>
            <a:off x="6190488" y="1397732"/>
            <a:ext cx="2514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r ID of required approver</a:t>
            </a:r>
            <a:endParaRPr lang="en-US" sz="800" dirty="0"/>
          </a:p>
        </p:txBody>
      </p:sp>
      <p:sp>
        <p:nvSpPr>
          <p:cNvPr id="39" name="Text 25"/>
          <p:cNvSpPr/>
          <p:nvPr/>
        </p:nvSpPr>
        <p:spPr>
          <a:xfrm>
            <a:off x="4800600" y="1489172"/>
            <a:ext cx="1371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800" dirty="0"/>
          </a:p>
        </p:txBody>
      </p:sp>
      <p:sp>
        <p:nvSpPr>
          <p:cNvPr id="40" name="Text 26"/>
          <p:cNvSpPr/>
          <p:nvPr/>
        </p:nvSpPr>
        <p:spPr>
          <a:xfrm>
            <a:off x="6190488" y="1489172"/>
            <a:ext cx="2514600" cy="82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reated date</a:t>
            </a:r>
            <a:endParaRPr lang="en-US" sz="800" dirty="0"/>
          </a:p>
        </p:txBody>
      </p:sp>
      <p:sp>
        <p:nvSpPr>
          <p:cNvPr id="41" name="Shape 7"/>
          <p:cNvSpPr/>
          <p:nvPr/>
        </p:nvSpPr>
        <p:spPr>
          <a:xfrm>
            <a:off x="320040" y="4444431"/>
            <a:ext cx="8503920" cy="356182"/>
          </a:xfrm>
          <a:prstGeom prst="roundRect">
            <a:avLst>
              <a:gd name="adj" fmla="val 7353"/>
            </a:avLst>
          </a:prstGeom>
          <a:solidFill>
            <a:srgbClr val="E6F4F6"/>
          </a:solidFill>
          <a:ln w="9525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2" name="Text 8"/>
          <p:cNvSpPr/>
          <p:nvPr/>
        </p:nvSpPr>
        <p:spPr>
          <a:xfrm>
            <a:off x="457200" y="4489711"/>
            <a:ext cx="8229600" cy="2822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950" b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sFilteredByDomainAdmin=true</a:t>
            </a: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displays all approval tasks the API user account can access as an approver and domain administrator.
</a:t>
            </a: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sFilteredByDomainAdmin=false</a:t>
            </a:r>
            <a:r>
              <a:rPr lang="en-US" sz="9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displays approval tasks in the API user's own approval queue.</a:t>
            </a:r>
            <a:endParaRPr lang="en-US" sz="950" dirty="0"/>
          </a:p>
        </p:txBody>
      </p:sp>
      <p:sp>
        <p:nvSpPr>
          <p:cNvPr id="45" name="Text 64">
            <a:extLst>
              <a:ext uri="{FF2B5EF4-FFF2-40B4-BE49-F238E27FC236}">
                <a16:creationId xmlns:a16="http://schemas.microsoft.com/office/drawing/2014/main" id="{B8886548-DF51-8A1A-5335-066B13FFCD72}"/>
              </a:ext>
            </a:extLst>
          </p:cNvPr>
          <p:cNvSpPr/>
          <p:nvPr/>
        </p:nvSpPr>
        <p:spPr>
          <a:xfrm>
            <a:off x="455895" y="1049686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quest</a:t>
            </a:r>
            <a:endParaRPr lang="en-US" sz="950" dirty="0"/>
          </a:p>
        </p:txBody>
      </p:sp>
      <p:sp>
        <p:nvSpPr>
          <p:cNvPr id="46" name="Shape 65">
            <a:extLst>
              <a:ext uri="{FF2B5EF4-FFF2-40B4-BE49-F238E27FC236}">
                <a16:creationId xmlns:a16="http://schemas.microsoft.com/office/drawing/2014/main" id="{AEF8E101-68BB-320F-485C-C3C4A7DC5BCE}"/>
              </a:ext>
            </a:extLst>
          </p:cNvPr>
          <p:cNvSpPr/>
          <p:nvPr/>
        </p:nvSpPr>
        <p:spPr>
          <a:xfrm>
            <a:off x="455895" y="1246515"/>
            <a:ext cx="3913632" cy="247292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7" name="Text 66">
            <a:extLst>
              <a:ext uri="{FF2B5EF4-FFF2-40B4-BE49-F238E27FC236}">
                <a16:creationId xmlns:a16="http://schemas.microsoft.com/office/drawing/2014/main" id="{EDE19E21-21C0-B2C2-4DCA-44ADB7B3A394}"/>
              </a:ext>
            </a:extLst>
          </p:cNvPr>
          <p:cNvSpPr/>
          <p:nvPr/>
        </p:nvSpPr>
        <p:spPr>
          <a:xfrm>
            <a:off x="565623" y="1319666"/>
            <a:ext cx="3694176" cy="17414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GET 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v1/routes/tasks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filter?isFilteredByDomainAdmin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=true </a:t>
            </a:r>
            <a:endParaRPr lang="en-US" sz="800" dirty="0"/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E8985B1C-4221-7BDE-01A6-559D6EC33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347" y="-50871"/>
            <a:ext cx="8158163" cy="535868"/>
          </a:xfrm>
        </p:spPr>
        <p:txBody>
          <a:bodyPr/>
          <a:lstStyle/>
          <a:p>
            <a:r>
              <a:rPr lang="en-US" dirty="0"/>
              <a:t>Retrieve Approval Tasks with Filter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256032" y="619181"/>
            <a:ext cx="859536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ll filters go inside the "items" array. Combine multiple conditions using operator: "AND“ or  “OR”</a:t>
            </a:r>
            <a:endParaRPr lang="en-US" sz="1050" dirty="0"/>
          </a:p>
        </p:txBody>
      </p:sp>
      <p:sp>
        <p:nvSpPr>
          <p:cNvPr id="6" name="Shape 4"/>
          <p:cNvSpPr/>
          <p:nvPr/>
        </p:nvSpPr>
        <p:spPr>
          <a:xfrm>
            <a:off x="256032" y="948365"/>
            <a:ext cx="1115568" cy="228600"/>
          </a:xfrm>
          <a:prstGeom prst="rect">
            <a:avLst/>
          </a:prstGeom>
          <a:solidFill>
            <a:srgbClr val="1B3A5C"/>
          </a:solidFill>
          <a:ln w="508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5"/>
          <p:cNvSpPr/>
          <p:nvPr/>
        </p:nvSpPr>
        <p:spPr>
          <a:xfrm>
            <a:off x="320040" y="948365"/>
            <a:ext cx="987552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perator</a:t>
            </a:r>
            <a:endParaRPr lang="en-US" sz="900" dirty="0"/>
          </a:p>
        </p:txBody>
      </p:sp>
      <p:sp>
        <p:nvSpPr>
          <p:cNvPr id="8" name="Shape 6"/>
          <p:cNvSpPr/>
          <p:nvPr/>
        </p:nvSpPr>
        <p:spPr>
          <a:xfrm>
            <a:off x="1417320" y="948365"/>
            <a:ext cx="4187952" cy="228600"/>
          </a:xfrm>
          <a:prstGeom prst="rect">
            <a:avLst/>
          </a:prstGeom>
          <a:solidFill>
            <a:srgbClr val="1B3A5C"/>
          </a:solidFill>
          <a:ln w="508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" name="Text 7"/>
          <p:cNvSpPr/>
          <p:nvPr/>
        </p:nvSpPr>
        <p:spPr>
          <a:xfrm>
            <a:off x="1481328" y="948365"/>
            <a:ext cx="4059936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lies to Fields</a:t>
            </a:r>
            <a:endParaRPr lang="en-US" sz="900" dirty="0"/>
          </a:p>
        </p:txBody>
      </p:sp>
      <p:sp>
        <p:nvSpPr>
          <p:cNvPr id="10" name="Shape 8"/>
          <p:cNvSpPr/>
          <p:nvPr/>
        </p:nvSpPr>
        <p:spPr>
          <a:xfrm>
            <a:off x="5650992" y="948365"/>
            <a:ext cx="3145536" cy="228600"/>
          </a:xfrm>
          <a:prstGeom prst="rect">
            <a:avLst/>
          </a:prstGeom>
          <a:solidFill>
            <a:srgbClr val="1B3A5C"/>
          </a:solidFill>
          <a:ln w="508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9"/>
          <p:cNvSpPr/>
          <p:nvPr/>
        </p:nvSpPr>
        <p:spPr>
          <a:xfrm>
            <a:off x="5715000" y="948365"/>
            <a:ext cx="3017520" cy="228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JSON item</a:t>
            </a:r>
            <a:endParaRPr lang="en-US" sz="900" dirty="0"/>
          </a:p>
        </p:txBody>
      </p:sp>
      <p:sp>
        <p:nvSpPr>
          <p:cNvPr id="12" name="Shape 10"/>
          <p:cNvSpPr/>
          <p:nvPr/>
        </p:nvSpPr>
        <p:spPr>
          <a:xfrm>
            <a:off x="256032" y="1176965"/>
            <a:ext cx="111556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3" name="Shape 11"/>
          <p:cNvSpPr/>
          <p:nvPr/>
        </p:nvSpPr>
        <p:spPr>
          <a:xfrm>
            <a:off x="1417320" y="1176965"/>
            <a:ext cx="417880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4" name="Shape 12"/>
          <p:cNvSpPr/>
          <p:nvPr/>
        </p:nvSpPr>
        <p:spPr>
          <a:xfrm>
            <a:off x="5650992" y="1176965"/>
            <a:ext cx="3145536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5" name="Shape 13"/>
          <p:cNvSpPr/>
          <p:nvPr/>
        </p:nvSpPr>
        <p:spPr>
          <a:xfrm>
            <a:off x="329184" y="1295837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6" name="Text 14"/>
          <p:cNvSpPr/>
          <p:nvPr/>
        </p:nvSpPr>
        <p:spPr>
          <a:xfrm>
            <a:off x="329184" y="1295837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quals</a:t>
            </a:r>
            <a:endParaRPr lang="en-US" sz="850" dirty="0"/>
          </a:p>
        </p:txBody>
      </p:sp>
      <p:sp>
        <p:nvSpPr>
          <p:cNvPr id="17" name="Shape 15"/>
          <p:cNvSpPr/>
          <p:nvPr/>
        </p:nvSpPr>
        <p:spPr>
          <a:xfrm>
            <a:off x="1481328" y="124097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1481328" y="124097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omainName</a:t>
            </a:r>
            <a:endParaRPr lang="en-US" sz="750" dirty="0"/>
          </a:p>
        </p:txBody>
      </p:sp>
      <p:sp>
        <p:nvSpPr>
          <p:cNvPr id="19" name="Shape 17"/>
          <p:cNvSpPr/>
          <p:nvPr/>
        </p:nvSpPr>
        <p:spPr>
          <a:xfrm>
            <a:off x="2523744" y="124097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0" name="Text 18"/>
          <p:cNvSpPr/>
          <p:nvPr/>
        </p:nvSpPr>
        <p:spPr>
          <a:xfrm>
            <a:off x="2523744" y="124097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project</a:t>
            </a:r>
            <a:endParaRPr lang="en-US" sz="750" dirty="0"/>
          </a:p>
        </p:txBody>
      </p:sp>
      <p:sp>
        <p:nvSpPr>
          <p:cNvPr id="21" name="Shape 19"/>
          <p:cNvSpPr/>
          <p:nvPr/>
        </p:nvSpPr>
        <p:spPr>
          <a:xfrm>
            <a:off x="3566160" y="124097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2" name="Text 20"/>
          <p:cNvSpPr/>
          <p:nvPr/>
        </p:nvSpPr>
        <p:spPr>
          <a:xfrm>
            <a:off x="3566160" y="124097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750" dirty="0"/>
          </a:p>
        </p:txBody>
      </p:sp>
      <p:sp>
        <p:nvSpPr>
          <p:cNvPr id="23" name="Shape 21"/>
          <p:cNvSpPr/>
          <p:nvPr/>
        </p:nvSpPr>
        <p:spPr>
          <a:xfrm>
            <a:off x="4608576" y="124097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4" name="Text 22"/>
          <p:cNvSpPr/>
          <p:nvPr/>
        </p:nvSpPr>
        <p:spPr>
          <a:xfrm>
            <a:off x="4608576" y="124097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25" name="Shape 23"/>
          <p:cNvSpPr/>
          <p:nvPr/>
        </p:nvSpPr>
        <p:spPr>
          <a:xfrm>
            <a:off x="1481328" y="14421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6" name="Text 24"/>
          <p:cNvSpPr/>
          <p:nvPr/>
        </p:nvSpPr>
        <p:spPr>
          <a:xfrm>
            <a:off x="1481328" y="14421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27" name="Shape 25"/>
          <p:cNvSpPr/>
          <p:nvPr/>
        </p:nvSpPr>
        <p:spPr>
          <a:xfrm>
            <a:off x="2523744" y="14421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8" name="Text 26"/>
          <p:cNvSpPr/>
          <p:nvPr/>
        </p:nvSpPr>
        <p:spPr>
          <a:xfrm>
            <a:off x="2523744" y="14421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29" name="Shape 27"/>
          <p:cNvSpPr/>
          <p:nvPr/>
        </p:nvSpPr>
        <p:spPr>
          <a:xfrm>
            <a:off x="3566160" y="14421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0" name="Text 28"/>
          <p:cNvSpPr/>
          <p:nvPr/>
        </p:nvSpPr>
        <p:spPr>
          <a:xfrm>
            <a:off x="3566160" y="14421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750" dirty="0"/>
          </a:p>
        </p:txBody>
      </p:sp>
      <p:sp>
        <p:nvSpPr>
          <p:cNvPr id="31" name="Text 29"/>
          <p:cNvSpPr/>
          <p:nvPr/>
        </p:nvSpPr>
        <p:spPr>
          <a:xfrm>
            <a:off x="5705856" y="1222685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timestamp","operator":"Equals","value":"2026-06-24"}</a:t>
            </a:r>
            <a:endParaRPr lang="en-US" sz="750" dirty="0"/>
          </a:p>
        </p:txBody>
      </p:sp>
      <p:sp>
        <p:nvSpPr>
          <p:cNvPr id="32" name="Shape 30"/>
          <p:cNvSpPr/>
          <p:nvPr/>
        </p:nvSpPr>
        <p:spPr>
          <a:xfrm>
            <a:off x="256032" y="1606733"/>
            <a:ext cx="111556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3" name="Shape 31"/>
          <p:cNvSpPr/>
          <p:nvPr/>
        </p:nvSpPr>
        <p:spPr>
          <a:xfrm>
            <a:off x="1417320" y="1606733"/>
            <a:ext cx="417880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4" name="Shape 32"/>
          <p:cNvSpPr/>
          <p:nvPr/>
        </p:nvSpPr>
        <p:spPr>
          <a:xfrm>
            <a:off x="5650992" y="1606733"/>
            <a:ext cx="3145536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5" name="Shape 33"/>
          <p:cNvSpPr/>
          <p:nvPr/>
        </p:nvSpPr>
        <p:spPr>
          <a:xfrm>
            <a:off x="329184" y="1725605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DC2626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6" name="Text 34"/>
          <p:cNvSpPr/>
          <p:nvPr/>
        </p:nvSpPr>
        <p:spPr>
          <a:xfrm>
            <a:off x="329184" y="1725605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otEquals</a:t>
            </a:r>
            <a:endParaRPr lang="en-US" sz="850" dirty="0"/>
          </a:p>
        </p:txBody>
      </p:sp>
      <p:sp>
        <p:nvSpPr>
          <p:cNvPr id="37" name="Shape 35"/>
          <p:cNvSpPr/>
          <p:nvPr/>
        </p:nvSpPr>
        <p:spPr>
          <a:xfrm>
            <a:off x="1481328" y="16707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8" name="Text 36"/>
          <p:cNvSpPr/>
          <p:nvPr/>
        </p:nvSpPr>
        <p:spPr>
          <a:xfrm>
            <a:off x="1481328" y="16707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omainName</a:t>
            </a:r>
            <a:endParaRPr lang="en-US" sz="750" dirty="0"/>
          </a:p>
        </p:txBody>
      </p:sp>
      <p:sp>
        <p:nvSpPr>
          <p:cNvPr id="39" name="Shape 37"/>
          <p:cNvSpPr/>
          <p:nvPr/>
        </p:nvSpPr>
        <p:spPr>
          <a:xfrm>
            <a:off x="2523744" y="16707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0" name="Text 38"/>
          <p:cNvSpPr/>
          <p:nvPr/>
        </p:nvSpPr>
        <p:spPr>
          <a:xfrm>
            <a:off x="2523744" y="16707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project</a:t>
            </a:r>
            <a:endParaRPr lang="en-US" sz="750" dirty="0"/>
          </a:p>
        </p:txBody>
      </p:sp>
      <p:sp>
        <p:nvSpPr>
          <p:cNvPr id="41" name="Shape 39"/>
          <p:cNvSpPr/>
          <p:nvPr/>
        </p:nvSpPr>
        <p:spPr>
          <a:xfrm>
            <a:off x="3566160" y="16707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2" name="Text 40"/>
          <p:cNvSpPr/>
          <p:nvPr/>
        </p:nvSpPr>
        <p:spPr>
          <a:xfrm>
            <a:off x="3566160" y="16707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750" dirty="0"/>
          </a:p>
        </p:txBody>
      </p:sp>
      <p:sp>
        <p:nvSpPr>
          <p:cNvPr id="43" name="Shape 41"/>
          <p:cNvSpPr/>
          <p:nvPr/>
        </p:nvSpPr>
        <p:spPr>
          <a:xfrm>
            <a:off x="4608576" y="167074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4" name="Text 42"/>
          <p:cNvSpPr/>
          <p:nvPr/>
        </p:nvSpPr>
        <p:spPr>
          <a:xfrm>
            <a:off x="4608576" y="167074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45" name="Shape 43"/>
          <p:cNvSpPr/>
          <p:nvPr/>
        </p:nvSpPr>
        <p:spPr>
          <a:xfrm>
            <a:off x="1481328" y="18719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6" name="Text 44"/>
          <p:cNvSpPr/>
          <p:nvPr/>
        </p:nvSpPr>
        <p:spPr>
          <a:xfrm>
            <a:off x="1481328" y="18719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47" name="Shape 45"/>
          <p:cNvSpPr/>
          <p:nvPr/>
        </p:nvSpPr>
        <p:spPr>
          <a:xfrm>
            <a:off x="2523744" y="18719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8" name="Text 46"/>
          <p:cNvSpPr/>
          <p:nvPr/>
        </p:nvSpPr>
        <p:spPr>
          <a:xfrm>
            <a:off x="2523744" y="18719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49" name="Shape 47"/>
          <p:cNvSpPr/>
          <p:nvPr/>
        </p:nvSpPr>
        <p:spPr>
          <a:xfrm>
            <a:off x="3566160" y="18719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0" name="Text 48"/>
          <p:cNvSpPr/>
          <p:nvPr/>
        </p:nvSpPr>
        <p:spPr>
          <a:xfrm>
            <a:off x="3566160" y="18719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750" dirty="0"/>
          </a:p>
        </p:txBody>
      </p:sp>
      <p:sp>
        <p:nvSpPr>
          <p:cNvPr id="51" name="Text 49"/>
          <p:cNvSpPr/>
          <p:nvPr/>
        </p:nvSpPr>
        <p:spPr>
          <a:xfrm>
            <a:off x="5705856" y="1652453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timestamp","operator":"NotEquals","value":"2026-06-24"}</a:t>
            </a:r>
            <a:endParaRPr lang="en-US" sz="750" dirty="0"/>
          </a:p>
        </p:txBody>
      </p:sp>
      <p:sp>
        <p:nvSpPr>
          <p:cNvPr id="52" name="Shape 50"/>
          <p:cNvSpPr/>
          <p:nvPr/>
        </p:nvSpPr>
        <p:spPr>
          <a:xfrm>
            <a:off x="256032" y="2036501"/>
            <a:ext cx="111556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3" name="Shape 51"/>
          <p:cNvSpPr/>
          <p:nvPr/>
        </p:nvSpPr>
        <p:spPr>
          <a:xfrm>
            <a:off x="1417320" y="2036501"/>
            <a:ext cx="417880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4" name="Shape 52"/>
          <p:cNvSpPr/>
          <p:nvPr/>
        </p:nvSpPr>
        <p:spPr>
          <a:xfrm>
            <a:off x="5650992" y="2036501"/>
            <a:ext cx="3145536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5" name="Shape 53"/>
          <p:cNvSpPr/>
          <p:nvPr/>
        </p:nvSpPr>
        <p:spPr>
          <a:xfrm>
            <a:off x="329184" y="2155373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6366F1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6" name="Text 54"/>
          <p:cNvSpPr/>
          <p:nvPr/>
        </p:nvSpPr>
        <p:spPr>
          <a:xfrm>
            <a:off x="329184" y="2155373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sAnyOf</a:t>
            </a:r>
            <a:endParaRPr lang="en-US" sz="850" dirty="0"/>
          </a:p>
        </p:txBody>
      </p:sp>
      <p:sp>
        <p:nvSpPr>
          <p:cNvPr id="57" name="Shape 55"/>
          <p:cNvSpPr/>
          <p:nvPr/>
        </p:nvSpPr>
        <p:spPr>
          <a:xfrm>
            <a:off x="1481328" y="21005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8" name="Text 56"/>
          <p:cNvSpPr/>
          <p:nvPr/>
        </p:nvSpPr>
        <p:spPr>
          <a:xfrm>
            <a:off x="1481328" y="21005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omainName</a:t>
            </a:r>
            <a:endParaRPr lang="en-US" sz="750" dirty="0"/>
          </a:p>
        </p:txBody>
      </p:sp>
      <p:sp>
        <p:nvSpPr>
          <p:cNvPr id="59" name="Shape 57"/>
          <p:cNvSpPr/>
          <p:nvPr/>
        </p:nvSpPr>
        <p:spPr>
          <a:xfrm>
            <a:off x="2523744" y="21005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0" name="Text 58"/>
          <p:cNvSpPr/>
          <p:nvPr/>
        </p:nvSpPr>
        <p:spPr>
          <a:xfrm>
            <a:off x="2523744" y="21005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project</a:t>
            </a:r>
            <a:endParaRPr lang="en-US" sz="750" dirty="0"/>
          </a:p>
        </p:txBody>
      </p:sp>
      <p:sp>
        <p:nvSpPr>
          <p:cNvPr id="61" name="Shape 59"/>
          <p:cNvSpPr/>
          <p:nvPr/>
        </p:nvSpPr>
        <p:spPr>
          <a:xfrm>
            <a:off x="3566160" y="21005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 60"/>
          <p:cNvSpPr/>
          <p:nvPr/>
        </p:nvSpPr>
        <p:spPr>
          <a:xfrm>
            <a:off x="3566160" y="21005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750" dirty="0"/>
          </a:p>
        </p:txBody>
      </p:sp>
      <p:sp>
        <p:nvSpPr>
          <p:cNvPr id="63" name="Shape 61"/>
          <p:cNvSpPr/>
          <p:nvPr/>
        </p:nvSpPr>
        <p:spPr>
          <a:xfrm>
            <a:off x="4608576" y="210050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4" name="Text 62"/>
          <p:cNvSpPr/>
          <p:nvPr/>
        </p:nvSpPr>
        <p:spPr>
          <a:xfrm>
            <a:off x="4608576" y="210050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65" name="Shape 63"/>
          <p:cNvSpPr/>
          <p:nvPr/>
        </p:nvSpPr>
        <p:spPr>
          <a:xfrm>
            <a:off x="1481328" y="2301677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6" name="Text 64"/>
          <p:cNvSpPr/>
          <p:nvPr/>
        </p:nvSpPr>
        <p:spPr>
          <a:xfrm>
            <a:off x="1481328" y="2301677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67" name="Shape 65"/>
          <p:cNvSpPr/>
          <p:nvPr/>
        </p:nvSpPr>
        <p:spPr>
          <a:xfrm>
            <a:off x="2523744" y="2301677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8" name="Text 66"/>
          <p:cNvSpPr/>
          <p:nvPr/>
        </p:nvSpPr>
        <p:spPr>
          <a:xfrm>
            <a:off x="2523744" y="2301677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69" name="Text 67"/>
          <p:cNvSpPr/>
          <p:nvPr/>
        </p:nvSpPr>
        <p:spPr>
          <a:xfrm>
            <a:off x="5705856" y="2082221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domainName","operator":"IsAnyOf","value":["1c6ac973-...","0ae8714e-..."]}</a:t>
            </a:r>
            <a:endParaRPr lang="en-US" sz="750" dirty="0"/>
          </a:p>
        </p:txBody>
      </p:sp>
      <p:sp>
        <p:nvSpPr>
          <p:cNvPr id="70" name="Shape 68"/>
          <p:cNvSpPr/>
          <p:nvPr/>
        </p:nvSpPr>
        <p:spPr>
          <a:xfrm>
            <a:off x="256032" y="2466269"/>
            <a:ext cx="111556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1" name="Shape 69"/>
          <p:cNvSpPr/>
          <p:nvPr/>
        </p:nvSpPr>
        <p:spPr>
          <a:xfrm>
            <a:off x="1417320" y="2466269"/>
            <a:ext cx="417880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2" name="Shape 70"/>
          <p:cNvSpPr/>
          <p:nvPr/>
        </p:nvSpPr>
        <p:spPr>
          <a:xfrm>
            <a:off x="5650992" y="2466269"/>
            <a:ext cx="3145536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3" name="Shape 71"/>
          <p:cNvSpPr/>
          <p:nvPr/>
        </p:nvSpPr>
        <p:spPr>
          <a:xfrm>
            <a:off x="329184" y="2585141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0D9488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4" name="Text 72"/>
          <p:cNvSpPr/>
          <p:nvPr/>
        </p:nvSpPr>
        <p:spPr>
          <a:xfrm>
            <a:off x="329184" y="2585141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tains</a:t>
            </a:r>
            <a:endParaRPr lang="en-US" sz="850" dirty="0"/>
          </a:p>
        </p:txBody>
      </p:sp>
      <p:sp>
        <p:nvSpPr>
          <p:cNvPr id="75" name="Shape 73"/>
          <p:cNvSpPr/>
          <p:nvPr/>
        </p:nvSpPr>
        <p:spPr>
          <a:xfrm>
            <a:off x="1481328" y="2530277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6" name="Text 74"/>
          <p:cNvSpPr/>
          <p:nvPr/>
        </p:nvSpPr>
        <p:spPr>
          <a:xfrm>
            <a:off x="1481328" y="2530277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77" name="Shape 75"/>
          <p:cNvSpPr/>
          <p:nvPr/>
        </p:nvSpPr>
        <p:spPr>
          <a:xfrm>
            <a:off x="2523744" y="2530277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8" name="Text 76"/>
          <p:cNvSpPr/>
          <p:nvPr/>
        </p:nvSpPr>
        <p:spPr>
          <a:xfrm>
            <a:off x="2523744" y="2530277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79" name="Shape 77"/>
          <p:cNvSpPr/>
          <p:nvPr/>
        </p:nvSpPr>
        <p:spPr>
          <a:xfrm>
            <a:off x="3566160" y="2530277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0" name="Text 78"/>
          <p:cNvSpPr/>
          <p:nvPr/>
        </p:nvSpPr>
        <p:spPr>
          <a:xfrm>
            <a:off x="3566160" y="2530277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81" name="Text 79"/>
          <p:cNvSpPr/>
          <p:nvPr/>
        </p:nvSpPr>
        <p:spPr>
          <a:xfrm>
            <a:off x="5705856" y="2511989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recordName","operator":"Contains","value":"15"}</a:t>
            </a:r>
            <a:endParaRPr lang="en-US" sz="750" dirty="0"/>
          </a:p>
        </p:txBody>
      </p:sp>
      <p:sp>
        <p:nvSpPr>
          <p:cNvPr id="82" name="Shape 80"/>
          <p:cNvSpPr/>
          <p:nvPr/>
        </p:nvSpPr>
        <p:spPr>
          <a:xfrm>
            <a:off x="256032" y="2896037"/>
            <a:ext cx="111556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3" name="Shape 81"/>
          <p:cNvSpPr/>
          <p:nvPr/>
        </p:nvSpPr>
        <p:spPr>
          <a:xfrm>
            <a:off x="1417320" y="2896037"/>
            <a:ext cx="417880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4" name="Shape 82"/>
          <p:cNvSpPr/>
          <p:nvPr/>
        </p:nvSpPr>
        <p:spPr>
          <a:xfrm>
            <a:off x="5650992" y="2896037"/>
            <a:ext cx="3145536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5" name="Shape 83"/>
          <p:cNvSpPr/>
          <p:nvPr/>
        </p:nvSpPr>
        <p:spPr>
          <a:xfrm>
            <a:off x="329184" y="3014909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0891B2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6" name="Text 84"/>
          <p:cNvSpPr/>
          <p:nvPr/>
        </p:nvSpPr>
        <p:spPr>
          <a:xfrm>
            <a:off x="329184" y="3014909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artsWith</a:t>
            </a:r>
            <a:endParaRPr lang="en-US" sz="850" dirty="0"/>
          </a:p>
        </p:txBody>
      </p:sp>
      <p:sp>
        <p:nvSpPr>
          <p:cNvPr id="87" name="Shape 85"/>
          <p:cNvSpPr/>
          <p:nvPr/>
        </p:nvSpPr>
        <p:spPr>
          <a:xfrm>
            <a:off x="1481328" y="2960045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8" name="Text 86"/>
          <p:cNvSpPr/>
          <p:nvPr/>
        </p:nvSpPr>
        <p:spPr>
          <a:xfrm>
            <a:off x="1481328" y="2960045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89" name="Shape 87"/>
          <p:cNvSpPr/>
          <p:nvPr/>
        </p:nvSpPr>
        <p:spPr>
          <a:xfrm>
            <a:off x="2523744" y="2960045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0" name="Text 88"/>
          <p:cNvSpPr/>
          <p:nvPr/>
        </p:nvSpPr>
        <p:spPr>
          <a:xfrm>
            <a:off x="2523744" y="2960045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91" name="Shape 89"/>
          <p:cNvSpPr/>
          <p:nvPr/>
        </p:nvSpPr>
        <p:spPr>
          <a:xfrm>
            <a:off x="3566160" y="2960045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2" name="Text 90"/>
          <p:cNvSpPr/>
          <p:nvPr/>
        </p:nvSpPr>
        <p:spPr>
          <a:xfrm>
            <a:off x="3566160" y="2960045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93" name="Text 91"/>
          <p:cNvSpPr/>
          <p:nvPr/>
        </p:nvSpPr>
        <p:spPr>
          <a:xfrm>
            <a:off x="5705856" y="2941757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recordName","operator":"StartsWith","value":"TC-"}</a:t>
            </a:r>
            <a:endParaRPr lang="en-US" sz="750" dirty="0"/>
          </a:p>
        </p:txBody>
      </p:sp>
      <p:sp>
        <p:nvSpPr>
          <p:cNvPr id="94" name="Shape 92"/>
          <p:cNvSpPr/>
          <p:nvPr/>
        </p:nvSpPr>
        <p:spPr>
          <a:xfrm>
            <a:off x="256032" y="3325805"/>
            <a:ext cx="111556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5" name="Shape 93"/>
          <p:cNvSpPr/>
          <p:nvPr/>
        </p:nvSpPr>
        <p:spPr>
          <a:xfrm>
            <a:off x="1417320" y="3325805"/>
            <a:ext cx="417880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6" name="Shape 94"/>
          <p:cNvSpPr/>
          <p:nvPr/>
        </p:nvSpPr>
        <p:spPr>
          <a:xfrm>
            <a:off x="5650992" y="3325805"/>
            <a:ext cx="3145536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7" name="Shape 95"/>
          <p:cNvSpPr/>
          <p:nvPr/>
        </p:nvSpPr>
        <p:spPr>
          <a:xfrm>
            <a:off x="329184" y="3444677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0891B2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98" name="Text 96"/>
          <p:cNvSpPr/>
          <p:nvPr/>
        </p:nvSpPr>
        <p:spPr>
          <a:xfrm>
            <a:off x="329184" y="3444677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ndsWith</a:t>
            </a:r>
            <a:endParaRPr lang="en-US" sz="850" dirty="0"/>
          </a:p>
        </p:txBody>
      </p:sp>
      <p:sp>
        <p:nvSpPr>
          <p:cNvPr id="99" name="Shape 97"/>
          <p:cNvSpPr/>
          <p:nvPr/>
        </p:nvSpPr>
        <p:spPr>
          <a:xfrm>
            <a:off x="1481328" y="338981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0" name="Text 98"/>
          <p:cNvSpPr/>
          <p:nvPr/>
        </p:nvSpPr>
        <p:spPr>
          <a:xfrm>
            <a:off x="1481328" y="338981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101" name="Shape 99"/>
          <p:cNvSpPr/>
          <p:nvPr/>
        </p:nvSpPr>
        <p:spPr>
          <a:xfrm>
            <a:off x="2523744" y="338981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2" name="Text 100"/>
          <p:cNvSpPr/>
          <p:nvPr/>
        </p:nvSpPr>
        <p:spPr>
          <a:xfrm>
            <a:off x="2523744" y="338981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signee</a:t>
            </a:r>
            <a:endParaRPr lang="en-US" sz="750" dirty="0"/>
          </a:p>
        </p:txBody>
      </p:sp>
      <p:sp>
        <p:nvSpPr>
          <p:cNvPr id="103" name="Shape 101"/>
          <p:cNvSpPr/>
          <p:nvPr/>
        </p:nvSpPr>
        <p:spPr>
          <a:xfrm>
            <a:off x="3566160" y="3389813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4" name="Text 102"/>
          <p:cNvSpPr/>
          <p:nvPr/>
        </p:nvSpPr>
        <p:spPr>
          <a:xfrm>
            <a:off x="3566160" y="3389813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meaning</a:t>
            </a:r>
            <a:endParaRPr lang="en-US" sz="750" dirty="0"/>
          </a:p>
        </p:txBody>
      </p:sp>
      <p:sp>
        <p:nvSpPr>
          <p:cNvPr id="105" name="Text 103"/>
          <p:cNvSpPr/>
          <p:nvPr/>
        </p:nvSpPr>
        <p:spPr>
          <a:xfrm>
            <a:off x="5705856" y="3371525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recordName","operator":"EndsWith","value":"-15"}</a:t>
            </a:r>
            <a:endParaRPr lang="en-US" sz="750" dirty="0"/>
          </a:p>
        </p:txBody>
      </p:sp>
      <p:sp>
        <p:nvSpPr>
          <p:cNvPr id="106" name="Shape 104"/>
          <p:cNvSpPr/>
          <p:nvPr/>
        </p:nvSpPr>
        <p:spPr>
          <a:xfrm>
            <a:off x="256032" y="3755573"/>
            <a:ext cx="111556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7" name="Shape 105"/>
          <p:cNvSpPr/>
          <p:nvPr/>
        </p:nvSpPr>
        <p:spPr>
          <a:xfrm>
            <a:off x="1417320" y="3755573"/>
            <a:ext cx="4178808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8" name="Shape 106"/>
          <p:cNvSpPr/>
          <p:nvPr/>
        </p:nvSpPr>
        <p:spPr>
          <a:xfrm>
            <a:off x="5650992" y="3755573"/>
            <a:ext cx="3145536" cy="420624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9" name="Shape 107"/>
          <p:cNvSpPr/>
          <p:nvPr/>
        </p:nvSpPr>
        <p:spPr>
          <a:xfrm>
            <a:off x="329184" y="3874445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B45309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0" name="Text 108"/>
          <p:cNvSpPr/>
          <p:nvPr/>
        </p:nvSpPr>
        <p:spPr>
          <a:xfrm>
            <a:off x="329184" y="3874445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reaterThan</a:t>
            </a:r>
            <a:endParaRPr lang="en-US" sz="850" dirty="0"/>
          </a:p>
        </p:txBody>
      </p:sp>
      <p:sp>
        <p:nvSpPr>
          <p:cNvPr id="111" name="Shape 109"/>
          <p:cNvSpPr/>
          <p:nvPr/>
        </p:nvSpPr>
        <p:spPr>
          <a:xfrm>
            <a:off x="1481328" y="3819581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2" name="Text 110"/>
          <p:cNvSpPr/>
          <p:nvPr/>
        </p:nvSpPr>
        <p:spPr>
          <a:xfrm>
            <a:off x="1481328" y="3819581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750" dirty="0"/>
          </a:p>
        </p:txBody>
      </p:sp>
      <p:sp>
        <p:nvSpPr>
          <p:cNvPr id="113" name="Text 111"/>
          <p:cNvSpPr/>
          <p:nvPr/>
        </p:nvSpPr>
        <p:spPr>
          <a:xfrm>
            <a:off x="5705856" y="3801293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timestamp","operator":"GreaterThan","value":"2026-06-01"}</a:t>
            </a:r>
            <a:endParaRPr lang="en-US" sz="750" dirty="0"/>
          </a:p>
        </p:txBody>
      </p:sp>
      <p:sp>
        <p:nvSpPr>
          <p:cNvPr id="114" name="Shape 112"/>
          <p:cNvSpPr/>
          <p:nvPr/>
        </p:nvSpPr>
        <p:spPr>
          <a:xfrm>
            <a:off x="256032" y="4185341"/>
            <a:ext cx="111556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5" name="Shape 113"/>
          <p:cNvSpPr/>
          <p:nvPr/>
        </p:nvSpPr>
        <p:spPr>
          <a:xfrm>
            <a:off x="1417320" y="4185341"/>
            <a:ext cx="4178808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6" name="Shape 114"/>
          <p:cNvSpPr/>
          <p:nvPr/>
        </p:nvSpPr>
        <p:spPr>
          <a:xfrm>
            <a:off x="5650992" y="4185341"/>
            <a:ext cx="3145536" cy="420624"/>
          </a:xfrm>
          <a:prstGeom prst="rect">
            <a:avLst/>
          </a:prstGeom>
          <a:solidFill>
            <a:srgbClr val="F8FAFB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7" name="Shape 115"/>
          <p:cNvSpPr/>
          <p:nvPr/>
        </p:nvSpPr>
        <p:spPr>
          <a:xfrm>
            <a:off x="329184" y="4304213"/>
            <a:ext cx="969264" cy="219456"/>
          </a:xfrm>
          <a:prstGeom prst="roundRect">
            <a:avLst>
              <a:gd name="adj" fmla="val 20833"/>
            </a:avLst>
          </a:prstGeom>
          <a:solidFill>
            <a:srgbClr val="B45309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8" name="Text 116"/>
          <p:cNvSpPr/>
          <p:nvPr/>
        </p:nvSpPr>
        <p:spPr>
          <a:xfrm>
            <a:off x="329184" y="4304213"/>
            <a:ext cx="96926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5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essThan</a:t>
            </a:r>
            <a:endParaRPr lang="en-US" sz="850" dirty="0"/>
          </a:p>
        </p:txBody>
      </p:sp>
      <p:sp>
        <p:nvSpPr>
          <p:cNvPr id="119" name="Shape 117"/>
          <p:cNvSpPr/>
          <p:nvPr/>
        </p:nvSpPr>
        <p:spPr>
          <a:xfrm>
            <a:off x="1481328" y="4249349"/>
            <a:ext cx="713232" cy="113645"/>
          </a:xfrm>
          <a:prstGeom prst="roundRect">
            <a:avLst>
              <a:gd name="adj" fmla="val 22222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0" name="Text 118"/>
          <p:cNvSpPr/>
          <p:nvPr/>
        </p:nvSpPr>
        <p:spPr>
          <a:xfrm>
            <a:off x="1481328" y="4249349"/>
            <a:ext cx="713232" cy="1136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7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imestamp</a:t>
            </a:r>
            <a:endParaRPr lang="en-US" sz="750" dirty="0"/>
          </a:p>
        </p:txBody>
      </p:sp>
      <p:sp>
        <p:nvSpPr>
          <p:cNvPr id="121" name="Text 119"/>
          <p:cNvSpPr/>
          <p:nvPr/>
        </p:nvSpPr>
        <p:spPr>
          <a:xfrm>
            <a:off x="5705856" y="4231061"/>
            <a:ext cx="3035808" cy="3383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"field":"timestamp","operator":"LessThan","value":"2026-06-30"}</a:t>
            </a:r>
            <a:endParaRPr lang="en-US" sz="750" dirty="0"/>
          </a:p>
        </p:txBody>
      </p:sp>
      <p:sp>
        <p:nvSpPr>
          <p:cNvPr id="122" name="Shape 120"/>
          <p:cNvSpPr/>
          <p:nvPr/>
        </p:nvSpPr>
        <p:spPr>
          <a:xfrm>
            <a:off x="256032" y="4617725"/>
            <a:ext cx="8631936" cy="237744"/>
          </a:xfrm>
          <a:prstGeom prst="roundRect">
            <a:avLst>
              <a:gd name="adj" fmla="val 15385"/>
            </a:avLst>
          </a:prstGeom>
          <a:solidFill>
            <a:srgbClr val="E6F4F6"/>
          </a:solidFill>
          <a:ln w="9525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3" name="Text 121"/>
          <p:cNvSpPr/>
          <p:nvPr/>
        </p:nvSpPr>
        <p:spPr>
          <a:xfrm>
            <a:off x="384048" y="4611194"/>
            <a:ext cx="84124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i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💡  IsAnyOf accepts an array of values: "value": ["val1","val2"]. All other operators use a single string value.</a:t>
            </a:r>
            <a:endParaRPr lang="en-US" sz="900" dirty="0"/>
          </a:p>
        </p:txBody>
      </p:sp>
      <p:sp>
        <p:nvSpPr>
          <p:cNvPr id="124" name="Title 123">
            <a:extLst>
              <a:ext uri="{FF2B5EF4-FFF2-40B4-BE49-F238E27FC236}">
                <a16:creationId xmlns:a16="http://schemas.microsoft.com/office/drawing/2014/main" id="{7474FD43-8049-50CF-F1BC-E9204C88A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ilable Filters &amp; Operator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6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3"/>
          <p:cNvSpPr/>
          <p:nvPr/>
        </p:nvSpPr>
        <p:spPr>
          <a:xfrm>
            <a:off x="320040" y="834720"/>
            <a:ext cx="8503920" cy="402336"/>
          </a:xfrm>
          <a:prstGeom prst="roundRect">
            <a:avLst>
              <a:gd name="adj" fmla="val 18182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6" name="Shape 4"/>
          <p:cNvSpPr/>
          <p:nvPr/>
        </p:nvSpPr>
        <p:spPr>
          <a:xfrm>
            <a:off x="457200" y="917016"/>
            <a:ext cx="502920" cy="219456"/>
          </a:xfrm>
          <a:prstGeom prst="roundRect">
            <a:avLst>
              <a:gd name="adj" fmla="val 1666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" name="Text 5"/>
          <p:cNvSpPr/>
          <p:nvPr/>
        </p:nvSpPr>
        <p:spPr>
          <a:xfrm>
            <a:off x="457200" y="917016"/>
            <a:ext cx="50292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800" dirty="0"/>
          </a:p>
        </p:txBody>
      </p:sp>
      <p:sp>
        <p:nvSpPr>
          <p:cNvPr id="8" name="Text 6"/>
          <p:cNvSpPr/>
          <p:nvPr/>
        </p:nvSpPr>
        <p:spPr>
          <a:xfrm>
            <a:off x="1024128" y="880440"/>
            <a:ext cx="758952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search</a:t>
            </a:r>
            <a:endParaRPr lang="en-US" sz="1200" dirty="0"/>
          </a:p>
        </p:txBody>
      </p:sp>
      <p:sp>
        <p:nvSpPr>
          <p:cNvPr id="9" name="Shape 7"/>
          <p:cNvSpPr/>
          <p:nvPr/>
        </p:nvSpPr>
        <p:spPr>
          <a:xfrm>
            <a:off x="320040" y="1319351"/>
            <a:ext cx="4160520" cy="3131219"/>
          </a:xfrm>
          <a:prstGeom prst="roundRect">
            <a:avLst>
              <a:gd name="adj" fmla="val 363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" name="Text 8"/>
          <p:cNvSpPr/>
          <p:nvPr/>
        </p:nvSpPr>
        <p:spPr>
          <a:xfrm>
            <a:off x="457200" y="1383360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Query Parameters</a:t>
            </a:r>
            <a:endParaRPr lang="en-US" sz="1050" dirty="0"/>
          </a:p>
        </p:txBody>
      </p:sp>
      <p:sp>
        <p:nvSpPr>
          <p:cNvPr id="11" name="Shape 9"/>
          <p:cNvSpPr/>
          <p:nvPr/>
        </p:nvSpPr>
        <p:spPr>
          <a:xfrm>
            <a:off x="457200" y="1675968"/>
            <a:ext cx="11887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" name="Shape 10"/>
          <p:cNvSpPr/>
          <p:nvPr/>
        </p:nvSpPr>
        <p:spPr>
          <a:xfrm>
            <a:off x="1645920" y="1675968"/>
            <a:ext cx="14173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3" name="Shape 11"/>
          <p:cNvSpPr/>
          <p:nvPr/>
        </p:nvSpPr>
        <p:spPr>
          <a:xfrm>
            <a:off x="3063240" y="1675968"/>
            <a:ext cx="1298448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 12"/>
          <p:cNvSpPr/>
          <p:nvPr/>
        </p:nvSpPr>
        <p:spPr>
          <a:xfrm>
            <a:off x="493776" y="1675968"/>
            <a:ext cx="11155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rameter</a:t>
            </a:r>
            <a:endParaRPr lang="en-US" sz="800" dirty="0"/>
          </a:p>
        </p:txBody>
      </p:sp>
      <p:sp>
        <p:nvSpPr>
          <p:cNvPr id="15" name="Text 13"/>
          <p:cNvSpPr/>
          <p:nvPr/>
        </p:nvSpPr>
        <p:spPr>
          <a:xfrm>
            <a:off x="1682496" y="1675968"/>
            <a:ext cx="13441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scription</a:t>
            </a:r>
            <a:endParaRPr lang="en-US" sz="800" dirty="0"/>
          </a:p>
        </p:txBody>
      </p:sp>
      <p:sp>
        <p:nvSpPr>
          <p:cNvPr id="16" name="Text 14"/>
          <p:cNvSpPr/>
          <p:nvPr/>
        </p:nvSpPr>
        <p:spPr>
          <a:xfrm>
            <a:off x="3099816" y="1675968"/>
            <a:ext cx="1225296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ample</a:t>
            </a:r>
            <a:endParaRPr lang="en-US" sz="800" dirty="0"/>
          </a:p>
        </p:txBody>
      </p:sp>
      <p:sp>
        <p:nvSpPr>
          <p:cNvPr id="17" name="Shape 15"/>
          <p:cNvSpPr/>
          <p:nvPr/>
        </p:nvSpPr>
        <p:spPr>
          <a:xfrm>
            <a:off x="457200" y="1895424"/>
            <a:ext cx="11887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8" name="Shape 16"/>
          <p:cNvSpPr/>
          <p:nvPr/>
        </p:nvSpPr>
        <p:spPr>
          <a:xfrm>
            <a:off x="1645920" y="1895424"/>
            <a:ext cx="14173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9" name="Shape 17"/>
          <p:cNvSpPr/>
          <p:nvPr/>
        </p:nvSpPr>
        <p:spPr>
          <a:xfrm>
            <a:off x="3063240" y="1895424"/>
            <a:ext cx="1298448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0" name="Text 18"/>
          <p:cNvSpPr/>
          <p:nvPr/>
        </p:nvSpPr>
        <p:spPr>
          <a:xfrm>
            <a:off x="475488" y="1895424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project</a:t>
            </a:r>
            <a:endParaRPr lang="en-US" sz="800" dirty="0"/>
          </a:p>
        </p:txBody>
      </p:sp>
      <p:sp>
        <p:nvSpPr>
          <p:cNvPr id="21" name="Text 19"/>
          <p:cNvSpPr/>
          <p:nvPr/>
        </p:nvSpPr>
        <p:spPr>
          <a:xfrm>
            <a:off x="1664208" y="1895424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by project  name</a:t>
            </a:r>
            <a:endParaRPr lang="en-US" sz="750" dirty="0"/>
          </a:p>
        </p:txBody>
      </p:sp>
      <p:sp>
        <p:nvSpPr>
          <p:cNvPr id="22" name="Text 20"/>
          <p:cNvSpPr/>
          <p:nvPr/>
        </p:nvSpPr>
        <p:spPr>
          <a:xfrm>
            <a:off x="3081528" y="1895424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IMS</a:t>
            </a:r>
            <a:endParaRPr lang="en-US" sz="750" dirty="0"/>
          </a:p>
        </p:txBody>
      </p:sp>
      <p:sp>
        <p:nvSpPr>
          <p:cNvPr id="23" name="Shape 21"/>
          <p:cNvSpPr/>
          <p:nvPr/>
        </p:nvSpPr>
        <p:spPr>
          <a:xfrm>
            <a:off x="457200" y="2060016"/>
            <a:ext cx="11887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4" name="Shape 22"/>
          <p:cNvSpPr/>
          <p:nvPr/>
        </p:nvSpPr>
        <p:spPr>
          <a:xfrm>
            <a:off x="1645920" y="2060016"/>
            <a:ext cx="14173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5" name="Shape 23"/>
          <p:cNvSpPr/>
          <p:nvPr/>
        </p:nvSpPr>
        <p:spPr>
          <a:xfrm>
            <a:off x="3063240" y="2060016"/>
            <a:ext cx="1298448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6" name="Text 24"/>
          <p:cNvSpPr/>
          <p:nvPr/>
        </p:nvSpPr>
        <p:spPr>
          <a:xfrm>
            <a:off x="475488" y="2060016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800" dirty="0"/>
          </a:p>
        </p:txBody>
      </p:sp>
      <p:sp>
        <p:nvSpPr>
          <p:cNvPr id="27" name="Text 25"/>
          <p:cNvSpPr/>
          <p:nvPr/>
        </p:nvSpPr>
        <p:spPr>
          <a:xfrm>
            <a:off x="1664208" y="2060016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by record type </a:t>
            </a:r>
            <a:endParaRPr lang="en-US" sz="750" dirty="0"/>
          </a:p>
        </p:txBody>
      </p:sp>
      <p:sp>
        <p:nvSpPr>
          <p:cNvPr id="28" name="Text 26"/>
          <p:cNvSpPr/>
          <p:nvPr/>
        </p:nvSpPr>
        <p:spPr>
          <a:xfrm>
            <a:off x="3081528" y="2060016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qTest Test Run</a:t>
            </a:r>
            <a:endParaRPr lang="en-US" sz="750" dirty="0"/>
          </a:p>
        </p:txBody>
      </p:sp>
      <p:sp>
        <p:nvSpPr>
          <p:cNvPr id="29" name="Shape 27"/>
          <p:cNvSpPr/>
          <p:nvPr/>
        </p:nvSpPr>
        <p:spPr>
          <a:xfrm>
            <a:off x="457200" y="2224608"/>
            <a:ext cx="11887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0" name="Shape 28"/>
          <p:cNvSpPr/>
          <p:nvPr/>
        </p:nvSpPr>
        <p:spPr>
          <a:xfrm>
            <a:off x="1645920" y="2224608"/>
            <a:ext cx="14173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1" name="Shape 29"/>
          <p:cNvSpPr/>
          <p:nvPr/>
        </p:nvSpPr>
        <p:spPr>
          <a:xfrm>
            <a:off x="3063240" y="2224608"/>
            <a:ext cx="1298448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2" name="Text 30"/>
          <p:cNvSpPr/>
          <p:nvPr/>
        </p:nvSpPr>
        <p:spPr>
          <a:xfrm>
            <a:off x="475488" y="2224608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Status</a:t>
            </a:r>
            <a:endParaRPr lang="en-US" sz="800" dirty="0"/>
          </a:p>
        </p:txBody>
      </p:sp>
      <p:sp>
        <p:nvSpPr>
          <p:cNvPr id="33" name="Text 31"/>
          <p:cNvSpPr/>
          <p:nvPr/>
        </p:nvSpPr>
        <p:spPr>
          <a:xfrm>
            <a:off x="1664208" y="2224608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lter by approval status</a:t>
            </a:r>
            <a:endParaRPr lang="en-US" sz="750" dirty="0"/>
          </a:p>
        </p:txBody>
      </p:sp>
      <p:sp>
        <p:nvSpPr>
          <p:cNvPr id="34" name="Text 32"/>
          <p:cNvSpPr/>
          <p:nvPr/>
        </p:nvSpPr>
        <p:spPr>
          <a:xfrm>
            <a:off x="3081528" y="2224608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proved</a:t>
            </a:r>
            <a:endParaRPr lang="en-US" sz="750" dirty="0"/>
          </a:p>
        </p:txBody>
      </p:sp>
      <p:sp>
        <p:nvSpPr>
          <p:cNvPr id="35" name="Shape 33"/>
          <p:cNvSpPr/>
          <p:nvPr/>
        </p:nvSpPr>
        <p:spPr>
          <a:xfrm>
            <a:off x="457200" y="2389200"/>
            <a:ext cx="11887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6" name="Shape 34"/>
          <p:cNvSpPr/>
          <p:nvPr/>
        </p:nvSpPr>
        <p:spPr>
          <a:xfrm>
            <a:off x="1645920" y="2389200"/>
            <a:ext cx="14173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37" name="Shape 35"/>
          <p:cNvSpPr/>
          <p:nvPr/>
        </p:nvSpPr>
        <p:spPr>
          <a:xfrm>
            <a:off x="3063240" y="2389200"/>
            <a:ext cx="1298448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38" name="Text 36"/>
          <p:cNvSpPr/>
          <p:nvPr/>
        </p:nvSpPr>
        <p:spPr>
          <a:xfrm>
            <a:off x="475488" y="2389200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800" dirty="0"/>
          </a:p>
        </p:txBody>
      </p:sp>
      <p:sp>
        <p:nvSpPr>
          <p:cNvPr id="39" name="Text 37"/>
          <p:cNvSpPr/>
          <p:nvPr/>
        </p:nvSpPr>
        <p:spPr>
          <a:xfrm>
            <a:off x="1664208" y="2389200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ext filter on record name</a:t>
            </a:r>
            <a:endParaRPr lang="en-US" sz="750" dirty="0"/>
          </a:p>
        </p:txBody>
      </p:sp>
      <p:sp>
        <p:nvSpPr>
          <p:cNvPr id="40" name="Text 38"/>
          <p:cNvSpPr/>
          <p:nvPr/>
        </p:nvSpPr>
        <p:spPr>
          <a:xfrm>
            <a:off x="3081528" y="2389200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R-11 - Low inventory</a:t>
            </a:r>
            <a:endParaRPr lang="en-US" sz="750" dirty="0"/>
          </a:p>
        </p:txBody>
      </p:sp>
      <p:sp>
        <p:nvSpPr>
          <p:cNvPr id="41" name="Shape 39"/>
          <p:cNvSpPr/>
          <p:nvPr/>
        </p:nvSpPr>
        <p:spPr>
          <a:xfrm>
            <a:off x="457200" y="2553792"/>
            <a:ext cx="11887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2" name="Shape 40"/>
          <p:cNvSpPr/>
          <p:nvPr/>
        </p:nvSpPr>
        <p:spPr>
          <a:xfrm>
            <a:off x="1645920" y="2553792"/>
            <a:ext cx="14173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3" name="Shape 41"/>
          <p:cNvSpPr/>
          <p:nvPr/>
        </p:nvSpPr>
        <p:spPr>
          <a:xfrm>
            <a:off x="3063240" y="2553792"/>
            <a:ext cx="1298448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4" name="Text 42"/>
          <p:cNvSpPr/>
          <p:nvPr/>
        </p:nvSpPr>
        <p:spPr>
          <a:xfrm>
            <a:off x="475488" y="2553792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imit</a:t>
            </a:r>
            <a:endParaRPr lang="en-US" sz="800" dirty="0"/>
          </a:p>
        </p:txBody>
      </p:sp>
      <p:sp>
        <p:nvSpPr>
          <p:cNvPr id="45" name="Text 43"/>
          <p:cNvSpPr/>
          <p:nvPr/>
        </p:nvSpPr>
        <p:spPr>
          <a:xfrm>
            <a:off x="1664208" y="2553792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x records returned</a:t>
            </a:r>
            <a:endParaRPr lang="en-US" sz="750" dirty="0"/>
          </a:p>
        </p:txBody>
      </p:sp>
      <p:sp>
        <p:nvSpPr>
          <p:cNvPr id="46" name="Text 44"/>
          <p:cNvSpPr/>
          <p:nvPr/>
        </p:nvSpPr>
        <p:spPr>
          <a:xfrm>
            <a:off x="3081528" y="2553792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25</a:t>
            </a:r>
            <a:endParaRPr lang="en-US" sz="750" dirty="0"/>
          </a:p>
        </p:txBody>
      </p:sp>
      <p:sp>
        <p:nvSpPr>
          <p:cNvPr id="47" name="Shape 45"/>
          <p:cNvSpPr/>
          <p:nvPr/>
        </p:nvSpPr>
        <p:spPr>
          <a:xfrm>
            <a:off x="457200" y="2718384"/>
            <a:ext cx="11887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8" name="Shape 46"/>
          <p:cNvSpPr/>
          <p:nvPr/>
        </p:nvSpPr>
        <p:spPr>
          <a:xfrm>
            <a:off x="1645920" y="2718384"/>
            <a:ext cx="14173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9" name="Shape 47"/>
          <p:cNvSpPr/>
          <p:nvPr/>
        </p:nvSpPr>
        <p:spPr>
          <a:xfrm>
            <a:off x="3063240" y="2718384"/>
            <a:ext cx="1298448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0" name="Text 48"/>
          <p:cNvSpPr/>
          <p:nvPr/>
        </p:nvSpPr>
        <p:spPr>
          <a:xfrm>
            <a:off x="475488" y="2718384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skip</a:t>
            </a:r>
            <a:endParaRPr lang="en-US" sz="800" dirty="0"/>
          </a:p>
        </p:txBody>
      </p:sp>
      <p:sp>
        <p:nvSpPr>
          <p:cNvPr id="51" name="Text 49"/>
          <p:cNvSpPr/>
          <p:nvPr/>
        </p:nvSpPr>
        <p:spPr>
          <a:xfrm>
            <a:off x="1664208" y="2718384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gination offset</a:t>
            </a:r>
            <a:endParaRPr lang="en-US" sz="750" dirty="0"/>
          </a:p>
        </p:txBody>
      </p:sp>
      <p:sp>
        <p:nvSpPr>
          <p:cNvPr id="52" name="Text 50"/>
          <p:cNvSpPr/>
          <p:nvPr/>
        </p:nvSpPr>
        <p:spPr>
          <a:xfrm>
            <a:off x="3081528" y="2718384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0</a:t>
            </a:r>
            <a:endParaRPr lang="en-US" sz="750" dirty="0"/>
          </a:p>
        </p:txBody>
      </p:sp>
      <p:sp>
        <p:nvSpPr>
          <p:cNvPr id="53" name="Shape 51"/>
          <p:cNvSpPr/>
          <p:nvPr/>
        </p:nvSpPr>
        <p:spPr>
          <a:xfrm>
            <a:off x="457200" y="2882976"/>
            <a:ext cx="11887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4" name="Shape 52"/>
          <p:cNvSpPr/>
          <p:nvPr/>
        </p:nvSpPr>
        <p:spPr>
          <a:xfrm>
            <a:off x="1645920" y="2882976"/>
            <a:ext cx="14173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5" name="Shape 53"/>
          <p:cNvSpPr/>
          <p:nvPr/>
        </p:nvSpPr>
        <p:spPr>
          <a:xfrm>
            <a:off x="3063240" y="2882976"/>
            <a:ext cx="1298448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6" name="Text 54"/>
          <p:cNvSpPr/>
          <p:nvPr/>
        </p:nvSpPr>
        <p:spPr>
          <a:xfrm>
            <a:off x="475488" y="2882976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sort</a:t>
            </a:r>
            <a:endParaRPr lang="en-US" sz="800" dirty="0"/>
          </a:p>
        </p:txBody>
      </p:sp>
      <p:sp>
        <p:nvSpPr>
          <p:cNvPr id="57" name="Text 55"/>
          <p:cNvSpPr/>
          <p:nvPr/>
        </p:nvSpPr>
        <p:spPr>
          <a:xfrm>
            <a:off x="1664208" y="2882976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eld to sort by</a:t>
            </a:r>
            <a:endParaRPr lang="en-US" sz="750" dirty="0"/>
          </a:p>
        </p:txBody>
      </p:sp>
      <p:sp>
        <p:nvSpPr>
          <p:cNvPr id="58" name="Text 56"/>
          <p:cNvSpPr/>
          <p:nvPr/>
        </p:nvSpPr>
        <p:spPr>
          <a:xfrm>
            <a:off x="3081528" y="2882976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750" dirty="0"/>
          </a:p>
        </p:txBody>
      </p:sp>
      <p:sp>
        <p:nvSpPr>
          <p:cNvPr id="59" name="Shape 57"/>
          <p:cNvSpPr/>
          <p:nvPr/>
        </p:nvSpPr>
        <p:spPr>
          <a:xfrm>
            <a:off x="457200" y="3047568"/>
            <a:ext cx="11887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0" name="Shape 58"/>
          <p:cNvSpPr/>
          <p:nvPr/>
        </p:nvSpPr>
        <p:spPr>
          <a:xfrm>
            <a:off x="1645920" y="3047568"/>
            <a:ext cx="1417320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1" name="Shape 59"/>
          <p:cNvSpPr/>
          <p:nvPr/>
        </p:nvSpPr>
        <p:spPr>
          <a:xfrm>
            <a:off x="3063240" y="3047568"/>
            <a:ext cx="1298448" cy="155448"/>
          </a:xfrm>
          <a:prstGeom prst="rect">
            <a:avLst/>
          </a:prstGeom>
          <a:solidFill>
            <a:srgbClr val="FFFFFF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 60"/>
          <p:cNvSpPr/>
          <p:nvPr/>
        </p:nvSpPr>
        <p:spPr>
          <a:xfrm>
            <a:off x="475488" y="3047568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order</a:t>
            </a:r>
            <a:endParaRPr lang="en-US" sz="800" dirty="0"/>
          </a:p>
        </p:txBody>
      </p:sp>
      <p:sp>
        <p:nvSpPr>
          <p:cNvPr id="63" name="Text 61"/>
          <p:cNvSpPr/>
          <p:nvPr/>
        </p:nvSpPr>
        <p:spPr>
          <a:xfrm>
            <a:off x="1664208" y="3047568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rt direction: Asc or Desc</a:t>
            </a:r>
            <a:endParaRPr lang="en-US" sz="750" dirty="0"/>
          </a:p>
        </p:txBody>
      </p:sp>
      <p:sp>
        <p:nvSpPr>
          <p:cNvPr id="64" name="Text 62"/>
          <p:cNvSpPr/>
          <p:nvPr/>
        </p:nvSpPr>
        <p:spPr>
          <a:xfrm>
            <a:off x="3081528" y="3047568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sc</a:t>
            </a:r>
            <a:endParaRPr lang="en-US" sz="750" dirty="0"/>
          </a:p>
        </p:txBody>
      </p:sp>
      <p:sp>
        <p:nvSpPr>
          <p:cNvPr id="66" name="Text 64"/>
          <p:cNvSpPr/>
          <p:nvPr/>
        </p:nvSpPr>
        <p:spPr>
          <a:xfrm>
            <a:off x="457200" y="3449904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quest</a:t>
            </a:r>
            <a:endParaRPr lang="en-US" sz="950" dirty="0"/>
          </a:p>
        </p:txBody>
      </p:sp>
      <p:sp>
        <p:nvSpPr>
          <p:cNvPr id="67" name="Shape 65"/>
          <p:cNvSpPr/>
          <p:nvPr/>
        </p:nvSpPr>
        <p:spPr>
          <a:xfrm>
            <a:off x="457200" y="3646733"/>
            <a:ext cx="3913632" cy="599164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8" name="Text 66"/>
          <p:cNvSpPr/>
          <p:nvPr/>
        </p:nvSpPr>
        <p:spPr>
          <a:xfrm>
            <a:off x="566928" y="3719884"/>
            <a:ext cx="3694176" cy="5260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GET 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v1/records/search?</a:t>
            </a:r>
          </a:p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&amp;project=LIMS</a:t>
            </a:r>
          </a:p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&amp;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Status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=Approved</a:t>
            </a:r>
          </a:p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&amp;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=qTest Test Run</a:t>
            </a:r>
            <a:endParaRPr lang="en-US" sz="800" dirty="0"/>
          </a:p>
        </p:txBody>
      </p:sp>
      <p:sp>
        <p:nvSpPr>
          <p:cNvPr id="69" name="Shape 67"/>
          <p:cNvSpPr/>
          <p:nvPr/>
        </p:nvSpPr>
        <p:spPr>
          <a:xfrm>
            <a:off x="4663440" y="1319351"/>
            <a:ext cx="4160520" cy="2143668"/>
          </a:xfrm>
          <a:prstGeom prst="roundRect">
            <a:avLst>
              <a:gd name="adj" fmla="val 4040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0" name="Text 68"/>
          <p:cNvSpPr/>
          <p:nvPr/>
        </p:nvSpPr>
        <p:spPr>
          <a:xfrm>
            <a:off x="4800600" y="1383360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sponse</a:t>
            </a:r>
            <a:endParaRPr lang="en-US" sz="1050" dirty="0"/>
          </a:p>
        </p:txBody>
      </p:sp>
      <p:sp>
        <p:nvSpPr>
          <p:cNvPr id="71" name="Shape 69"/>
          <p:cNvSpPr/>
          <p:nvPr/>
        </p:nvSpPr>
        <p:spPr>
          <a:xfrm>
            <a:off x="4800600" y="1657679"/>
            <a:ext cx="3913632" cy="1668179"/>
          </a:xfrm>
          <a:prstGeom prst="roundRect">
            <a:avLst>
              <a:gd name="adj" fmla="val 3947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2" name="Text 70"/>
          <p:cNvSpPr/>
          <p:nvPr/>
        </p:nvSpPr>
        <p:spPr>
          <a:xfrm>
            <a:off x="4910328" y="1730832"/>
            <a:ext cx="3694176" cy="12435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{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rows": [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{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"</a:t>
            </a:r>
            <a:r>
              <a:rPr lang="en-US" sz="85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Id</a:t>
            </a: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": ""baa82d46-888c-4267-a50b-7d8d9b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"projectName": “LIMS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"recordName": "TR-11 - Low inventory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"recordType": "qTest Test Run"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  "recordStatus": "Approved"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  }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],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"total": 1</a:t>
            </a:r>
            <a:endParaRPr lang="en-US" sz="850" dirty="0"/>
          </a:p>
          <a:p>
            <a:pPr marL="0" indent="0">
              <a:buNone/>
            </a:pPr>
            <a:r>
              <a:rPr lang="en-US" sz="85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}</a:t>
            </a:r>
            <a:endParaRPr lang="en-US" sz="850" dirty="0"/>
          </a:p>
        </p:txBody>
      </p:sp>
      <p:sp>
        <p:nvSpPr>
          <p:cNvPr id="73" name="Shape 71"/>
          <p:cNvSpPr/>
          <p:nvPr/>
        </p:nvSpPr>
        <p:spPr>
          <a:xfrm>
            <a:off x="4663440" y="3609323"/>
            <a:ext cx="4160520" cy="841248"/>
          </a:xfrm>
          <a:prstGeom prst="roundRect">
            <a:avLst>
              <a:gd name="adj" fmla="val 86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4" name="Text 72"/>
          <p:cNvSpPr/>
          <p:nvPr/>
        </p:nvSpPr>
        <p:spPr>
          <a:xfrm>
            <a:off x="4800600" y="3664187"/>
            <a:ext cx="38404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050" dirty="0"/>
          </a:p>
        </p:txBody>
      </p:sp>
      <p:sp>
        <p:nvSpPr>
          <p:cNvPr id="75" name="Text 73"/>
          <p:cNvSpPr/>
          <p:nvPr/>
        </p:nvSpPr>
        <p:spPr>
          <a:xfrm>
            <a:off x="4800600" y="3920219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Id</a:t>
            </a:r>
            <a:endParaRPr lang="en-US" sz="850" dirty="0"/>
          </a:p>
        </p:txBody>
      </p:sp>
      <p:sp>
        <p:nvSpPr>
          <p:cNvPr id="76" name="Text 74"/>
          <p:cNvSpPr/>
          <p:nvPr/>
        </p:nvSpPr>
        <p:spPr>
          <a:xfrm>
            <a:off x="6190488" y="3920219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UID — use for /history and /routes</a:t>
            </a:r>
            <a:endParaRPr lang="en-US" sz="850" dirty="0"/>
          </a:p>
        </p:txBody>
      </p:sp>
      <p:sp>
        <p:nvSpPr>
          <p:cNvPr id="77" name="Text 75"/>
          <p:cNvSpPr/>
          <p:nvPr/>
        </p:nvSpPr>
        <p:spPr>
          <a:xfrm>
            <a:off x="4800600" y="4048235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850" dirty="0"/>
          </a:p>
        </p:txBody>
      </p:sp>
      <p:sp>
        <p:nvSpPr>
          <p:cNvPr id="78" name="Text 76"/>
          <p:cNvSpPr/>
          <p:nvPr/>
        </p:nvSpPr>
        <p:spPr>
          <a:xfrm>
            <a:off x="6190488" y="4048235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uman-readable record name</a:t>
            </a:r>
            <a:endParaRPr lang="en-US" sz="850" dirty="0"/>
          </a:p>
        </p:txBody>
      </p:sp>
      <p:sp>
        <p:nvSpPr>
          <p:cNvPr id="79" name="Text 77"/>
          <p:cNvSpPr/>
          <p:nvPr/>
        </p:nvSpPr>
        <p:spPr>
          <a:xfrm>
            <a:off x="4800600" y="4176251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850" dirty="0"/>
          </a:p>
        </p:txBody>
      </p:sp>
      <p:sp>
        <p:nvSpPr>
          <p:cNvPr id="80" name="Text 78"/>
          <p:cNvSpPr/>
          <p:nvPr/>
        </p:nvSpPr>
        <p:spPr>
          <a:xfrm>
            <a:off x="6190488" y="4176251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.g. qTest Defect, qTest Test Case</a:t>
            </a:r>
            <a:endParaRPr lang="en-US" sz="850" dirty="0"/>
          </a:p>
        </p:txBody>
      </p:sp>
      <p:sp>
        <p:nvSpPr>
          <p:cNvPr id="81" name="Text 79"/>
          <p:cNvSpPr/>
          <p:nvPr/>
        </p:nvSpPr>
        <p:spPr>
          <a:xfrm>
            <a:off x="4800600" y="4304267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Status</a:t>
            </a:r>
            <a:endParaRPr lang="en-US" sz="850" dirty="0"/>
          </a:p>
        </p:txBody>
      </p:sp>
      <p:sp>
        <p:nvSpPr>
          <p:cNvPr id="82" name="Text 80"/>
          <p:cNvSpPr/>
          <p:nvPr/>
        </p:nvSpPr>
        <p:spPr>
          <a:xfrm>
            <a:off x="6190488" y="4304267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.g. Approved, Rejected, Pending</a:t>
            </a:r>
            <a:endParaRPr lang="en-US" sz="850" dirty="0"/>
          </a:p>
        </p:txBody>
      </p:sp>
      <p:sp>
        <p:nvSpPr>
          <p:cNvPr id="83" name="Shape 81"/>
          <p:cNvSpPr/>
          <p:nvPr/>
        </p:nvSpPr>
        <p:spPr>
          <a:xfrm>
            <a:off x="320040" y="4538040"/>
            <a:ext cx="8503920" cy="274320"/>
          </a:xfrm>
          <a:prstGeom prst="roundRect">
            <a:avLst>
              <a:gd name="adj" fmla="val 13333"/>
            </a:avLst>
          </a:prstGeom>
          <a:solidFill>
            <a:srgbClr val="E6F4F6"/>
          </a:solidFill>
          <a:ln w="6350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4" name="Text 82"/>
          <p:cNvSpPr/>
          <p:nvPr/>
        </p:nvSpPr>
        <p:spPr>
          <a:xfrm>
            <a:off x="457200" y="4538040"/>
            <a:ext cx="83210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900" i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💡  Use recordId from the response to call in subsequent calls – ex. </a:t>
            </a:r>
            <a:r>
              <a:rPr lang="en-US" sz="9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baa82d46-888c-4267-a50b-7d8d9b</a:t>
            </a:r>
            <a:endParaRPr lang="en-US" sz="900" dirty="0"/>
          </a:p>
        </p:txBody>
      </p:sp>
      <p:sp>
        <p:nvSpPr>
          <p:cNvPr id="85" name="Title 84">
            <a:extLst>
              <a:ext uri="{FF2B5EF4-FFF2-40B4-BE49-F238E27FC236}">
                <a16:creationId xmlns:a16="http://schemas.microsoft.com/office/drawing/2014/main" id="{799F75C3-AC86-2FB0-E57E-78ECD01A1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rieve Records with Filter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791A6-D2BF-68AD-CA8C-D3526D561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3">
            <a:extLst>
              <a:ext uri="{FF2B5EF4-FFF2-40B4-BE49-F238E27FC236}">
                <a16:creationId xmlns:a16="http://schemas.microsoft.com/office/drawing/2014/main" id="{E458CDD2-B678-385A-B828-B69B2E37BD8C}"/>
              </a:ext>
            </a:extLst>
          </p:cNvPr>
          <p:cNvSpPr/>
          <p:nvPr/>
        </p:nvSpPr>
        <p:spPr>
          <a:xfrm>
            <a:off x="320040" y="1828800"/>
            <a:ext cx="4160520" cy="2030259"/>
          </a:xfrm>
          <a:prstGeom prst="roundRect">
            <a:avLst>
              <a:gd name="adj" fmla="val 11111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3C4A174C-3BF6-0133-8F47-16337BF5CF4D}"/>
              </a:ext>
            </a:extLst>
          </p:cNvPr>
          <p:cNvSpPr/>
          <p:nvPr/>
        </p:nvSpPr>
        <p:spPr>
          <a:xfrm>
            <a:off x="457200" y="1892809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Query Parameters</a:t>
            </a:r>
            <a:endParaRPr lang="en-US" sz="1050" dirty="0"/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4FA5A60C-4BAF-56CC-EB9E-0610088A8EBB}"/>
              </a:ext>
            </a:extLst>
          </p:cNvPr>
          <p:cNvSpPr/>
          <p:nvPr/>
        </p:nvSpPr>
        <p:spPr>
          <a:xfrm>
            <a:off x="457200" y="2185417"/>
            <a:ext cx="11887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E581F97B-6B60-5E37-625B-6E35F692FB01}"/>
              </a:ext>
            </a:extLst>
          </p:cNvPr>
          <p:cNvSpPr/>
          <p:nvPr/>
        </p:nvSpPr>
        <p:spPr>
          <a:xfrm>
            <a:off x="1645920" y="2185417"/>
            <a:ext cx="1417320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E7E8B5EA-316C-DB55-BEDB-4D07C1A1B478}"/>
              </a:ext>
            </a:extLst>
          </p:cNvPr>
          <p:cNvSpPr/>
          <p:nvPr/>
        </p:nvSpPr>
        <p:spPr>
          <a:xfrm>
            <a:off x="3063240" y="2185417"/>
            <a:ext cx="1298448" cy="201168"/>
          </a:xfrm>
          <a:prstGeom prst="rect">
            <a:avLst/>
          </a:prstGeom>
          <a:solidFill>
            <a:srgbClr val="1B3A5C"/>
          </a:solidFill>
          <a:ln w="635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A354C251-EF75-7931-BA52-C21B53C7DB7E}"/>
              </a:ext>
            </a:extLst>
          </p:cNvPr>
          <p:cNvSpPr/>
          <p:nvPr/>
        </p:nvSpPr>
        <p:spPr>
          <a:xfrm>
            <a:off x="493776" y="2185417"/>
            <a:ext cx="11155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arameter</a:t>
            </a:r>
            <a:endParaRPr lang="en-US" sz="800" dirty="0"/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5ABD2A70-6434-70E6-0CA7-1D6CAB9DD4BC}"/>
              </a:ext>
            </a:extLst>
          </p:cNvPr>
          <p:cNvSpPr/>
          <p:nvPr/>
        </p:nvSpPr>
        <p:spPr>
          <a:xfrm>
            <a:off x="1682496" y="2185417"/>
            <a:ext cx="1344168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scription</a:t>
            </a:r>
            <a:endParaRPr lang="en-US" sz="800" dirty="0"/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199DFB08-FC50-8CC8-6C7E-6C80770426D3}"/>
              </a:ext>
            </a:extLst>
          </p:cNvPr>
          <p:cNvSpPr/>
          <p:nvPr/>
        </p:nvSpPr>
        <p:spPr>
          <a:xfrm>
            <a:off x="3099816" y="2185417"/>
            <a:ext cx="1225296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xample</a:t>
            </a:r>
            <a:endParaRPr lang="en-US" sz="800" dirty="0"/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4ADEC59A-ED50-9129-B24E-CC1B56AC4D85}"/>
              </a:ext>
            </a:extLst>
          </p:cNvPr>
          <p:cNvSpPr/>
          <p:nvPr/>
        </p:nvSpPr>
        <p:spPr>
          <a:xfrm>
            <a:off x="457200" y="2404873"/>
            <a:ext cx="11887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Shape 16">
            <a:extLst>
              <a:ext uri="{FF2B5EF4-FFF2-40B4-BE49-F238E27FC236}">
                <a16:creationId xmlns:a16="http://schemas.microsoft.com/office/drawing/2014/main" id="{E084099D-28F0-29E6-98D2-D7C00E5FFB1A}"/>
              </a:ext>
            </a:extLst>
          </p:cNvPr>
          <p:cNvSpPr/>
          <p:nvPr/>
        </p:nvSpPr>
        <p:spPr>
          <a:xfrm>
            <a:off x="1645920" y="2404873"/>
            <a:ext cx="1417320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9" name="Shape 17">
            <a:extLst>
              <a:ext uri="{FF2B5EF4-FFF2-40B4-BE49-F238E27FC236}">
                <a16:creationId xmlns:a16="http://schemas.microsoft.com/office/drawing/2014/main" id="{85D1B4F9-1AAE-7BF1-2892-D2C050E3B549}"/>
              </a:ext>
            </a:extLst>
          </p:cNvPr>
          <p:cNvSpPr/>
          <p:nvPr/>
        </p:nvSpPr>
        <p:spPr>
          <a:xfrm>
            <a:off x="3063240" y="2404873"/>
            <a:ext cx="1298448" cy="155448"/>
          </a:xfrm>
          <a:prstGeom prst="rect">
            <a:avLst/>
          </a:prstGeom>
          <a:solidFill>
            <a:srgbClr val="E6F4F6"/>
          </a:solidFill>
          <a:ln w="3810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C9CD231D-83A5-E85D-1A11-74C55B53AD4D}"/>
              </a:ext>
            </a:extLst>
          </p:cNvPr>
          <p:cNvSpPr/>
          <p:nvPr/>
        </p:nvSpPr>
        <p:spPr>
          <a:xfrm>
            <a:off x="475488" y="2404873"/>
            <a:ext cx="11521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00" b="1" dirty="0" err="1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createLinkedRecords</a:t>
            </a:r>
            <a:endParaRPr lang="en-US" sz="800" dirty="0"/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2C9D3804-D4D2-87D1-254D-743F91F8426B}"/>
              </a:ext>
            </a:extLst>
          </p:cNvPr>
          <p:cNvSpPr/>
          <p:nvPr/>
        </p:nvSpPr>
        <p:spPr>
          <a:xfrm>
            <a:off x="1664208" y="2404873"/>
            <a:ext cx="1380744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1E293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 linked records</a:t>
            </a:r>
            <a:endParaRPr lang="en-US" sz="750" dirty="0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1FE36027-2AA4-5179-2B88-1BD5335AFE5C}"/>
              </a:ext>
            </a:extLst>
          </p:cNvPr>
          <p:cNvSpPr/>
          <p:nvPr/>
        </p:nvSpPr>
        <p:spPr>
          <a:xfrm>
            <a:off x="3081528" y="2404873"/>
            <a:ext cx="1261872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50" dirty="0">
                <a:solidFill>
                  <a:srgbClr val="475569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true</a:t>
            </a:r>
            <a:endParaRPr lang="en-US" sz="750" dirty="0"/>
          </a:p>
        </p:txBody>
      </p:sp>
      <p:sp>
        <p:nvSpPr>
          <p:cNvPr id="66" name="Text 64">
            <a:extLst>
              <a:ext uri="{FF2B5EF4-FFF2-40B4-BE49-F238E27FC236}">
                <a16:creationId xmlns:a16="http://schemas.microsoft.com/office/drawing/2014/main" id="{0830DBE0-692C-A82C-0C85-2818D5768E17}"/>
              </a:ext>
            </a:extLst>
          </p:cNvPr>
          <p:cNvSpPr/>
          <p:nvPr/>
        </p:nvSpPr>
        <p:spPr>
          <a:xfrm>
            <a:off x="457200" y="2890811"/>
            <a:ext cx="38404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quest</a:t>
            </a:r>
            <a:endParaRPr lang="en-US" sz="950" dirty="0"/>
          </a:p>
        </p:txBody>
      </p:sp>
      <p:sp>
        <p:nvSpPr>
          <p:cNvPr id="67" name="Shape 65">
            <a:extLst>
              <a:ext uri="{FF2B5EF4-FFF2-40B4-BE49-F238E27FC236}">
                <a16:creationId xmlns:a16="http://schemas.microsoft.com/office/drawing/2014/main" id="{CBBD53AC-F8DA-1059-1F79-64D1AD1845AE}"/>
              </a:ext>
            </a:extLst>
          </p:cNvPr>
          <p:cNvSpPr/>
          <p:nvPr/>
        </p:nvSpPr>
        <p:spPr>
          <a:xfrm>
            <a:off x="457200" y="3087640"/>
            <a:ext cx="3913632" cy="599164"/>
          </a:xfrm>
          <a:prstGeom prst="roundRect">
            <a:avLst>
              <a:gd name="adj" fmla="val 15789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8" name="Text 66">
            <a:extLst>
              <a:ext uri="{FF2B5EF4-FFF2-40B4-BE49-F238E27FC236}">
                <a16:creationId xmlns:a16="http://schemas.microsoft.com/office/drawing/2014/main" id="{13ACA516-D818-8B40-8FA4-CC0357B3AA45}"/>
              </a:ext>
            </a:extLst>
          </p:cNvPr>
          <p:cNvSpPr/>
          <p:nvPr/>
        </p:nvSpPr>
        <p:spPr>
          <a:xfrm>
            <a:off x="566928" y="3160791"/>
            <a:ext cx="3694176" cy="5260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GET /</a:t>
            </a:r>
            <a:r>
              <a:rPr lang="en-US" sz="800" dirty="0" err="1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api</a:t>
            </a:r>
            <a:r>
              <a:rPr lang="en-US" sz="800" dirty="0">
                <a:solidFill>
                  <a:srgbClr val="1E293B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v1/records/baa82d46-888c-4267-a50b-7d8d9b?createLinkedRecords=true</a:t>
            </a:r>
            <a:endParaRPr lang="en-US" sz="800" dirty="0"/>
          </a:p>
        </p:txBody>
      </p:sp>
      <p:sp>
        <p:nvSpPr>
          <p:cNvPr id="69" name="Shape 67">
            <a:extLst>
              <a:ext uri="{FF2B5EF4-FFF2-40B4-BE49-F238E27FC236}">
                <a16:creationId xmlns:a16="http://schemas.microsoft.com/office/drawing/2014/main" id="{15A11D24-D8F0-E601-08F0-78A292915086}"/>
              </a:ext>
            </a:extLst>
          </p:cNvPr>
          <p:cNvSpPr/>
          <p:nvPr/>
        </p:nvSpPr>
        <p:spPr>
          <a:xfrm>
            <a:off x="4663440" y="1828800"/>
            <a:ext cx="4160520" cy="3003204"/>
          </a:xfrm>
          <a:prstGeom prst="roundRect">
            <a:avLst>
              <a:gd name="adj" fmla="val 4040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0" name="Text 68">
            <a:extLst>
              <a:ext uri="{FF2B5EF4-FFF2-40B4-BE49-F238E27FC236}">
                <a16:creationId xmlns:a16="http://schemas.microsoft.com/office/drawing/2014/main" id="{F15E2108-6B88-0E73-8CC8-8B1780A13DE4}"/>
              </a:ext>
            </a:extLst>
          </p:cNvPr>
          <p:cNvSpPr/>
          <p:nvPr/>
        </p:nvSpPr>
        <p:spPr>
          <a:xfrm>
            <a:off x="4800600" y="1892809"/>
            <a:ext cx="38404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ample Response</a:t>
            </a:r>
            <a:endParaRPr lang="en-US" sz="1050" dirty="0"/>
          </a:p>
        </p:txBody>
      </p:sp>
      <p:sp>
        <p:nvSpPr>
          <p:cNvPr id="71" name="Shape 69">
            <a:extLst>
              <a:ext uri="{FF2B5EF4-FFF2-40B4-BE49-F238E27FC236}">
                <a16:creationId xmlns:a16="http://schemas.microsoft.com/office/drawing/2014/main" id="{01467D45-CD45-23D2-E1FF-020A81189EAD}"/>
              </a:ext>
            </a:extLst>
          </p:cNvPr>
          <p:cNvSpPr/>
          <p:nvPr/>
        </p:nvSpPr>
        <p:spPr>
          <a:xfrm>
            <a:off x="4800600" y="2167128"/>
            <a:ext cx="3913632" cy="2381412"/>
          </a:xfrm>
          <a:prstGeom prst="roundRect">
            <a:avLst>
              <a:gd name="adj" fmla="val 3947"/>
            </a:avLst>
          </a:prstGeom>
          <a:solidFill>
            <a:srgbClr val="F1F5F9"/>
          </a:solidFill>
          <a:ln w="9525">
            <a:solidFill>
              <a:srgbClr val="CBD5E1"/>
            </a:solidFill>
            <a:prstDash val="solid"/>
          </a:ln>
        </p:spPr>
        <p:txBody>
          <a:bodyPr/>
          <a:lstStyle/>
          <a:p>
            <a:endParaRPr lang="en-US" dirty="0"/>
          </a:p>
        </p:txBody>
      </p:sp>
      <p:sp>
        <p:nvSpPr>
          <p:cNvPr id="72" name="Text 70">
            <a:extLst>
              <a:ext uri="{FF2B5EF4-FFF2-40B4-BE49-F238E27FC236}">
                <a16:creationId xmlns:a16="http://schemas.microsoft.com/office/drawing/2014/main" id="{B69503C5-D6D7-39DF-2DC5-C46421B3A16F}"/>
              </a:ext>
            </a:extLst>
          </p:cNvPr>
          <p:cNvSpPr/>
          <p:nvPr/>
        </p:nvSpPr>
        <p:spPr>
          <a:xfrm>
            <a:off x="4910328" y="2240280"/>
            <a:ext cx="3694176" cy="24454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850" dirty="0"/>
              <a:t>{</a:t>
            </a:r>
          </a:p>
          <a:p>
            <a:r>
              <a:rPr lang="en-US" sz="850" dirty="0"/>
              <a:t>  "_id": "baa82d46-888c-4267-a50b-7d8d9b",</a:t>
            </a:r>
          </a:p>
          <a:p>
            <a:r>
              <a:rPr lang="en-US" sz="850" dirty="0"/>
              <a:t>  "name": "TR-11 - Low inventory",</a:t>
            </a:r>
          </a:p>
          <a:p>
            <a:r>
              <a:rPr lang="en-US" sz="850" dirty="0"/>
              <a:t>  "</a:t>
            </a:r>
            <a:r>
              <a:rPr lang="en-US" sz="850" dirty="0" err="1"/>
              <a:t>record_type</a:t>
            </a:r>
            <a:r>
              <a:rPr lang="en-US" sz="850" dirty="0"/>
              <a:t>": "qTest Test Run",</a:t>
            </a:r>
          </a:p>
          <a:p>
            <a:r>
              <a:rPr lang="en-US" sz="850" dirty="0"/>
              <a:t>  "status": "Approved",</a:t>
            </a:r>
          </a:p>
          <a:p>
            <a:r>
              <a:rPr lang="en-US" sz="850" dirty="0"/>
              <a:t>  "fields": { "Status": "Passed" },</a:t>
            </a:r>
          </a:p>
          <a:p>
            <a:r>
              <a:rPr lang="en-US" sz="850" dirty="0"/>
              <a:t>  "locations": [{ "system": "qTest", "Key": "TR-11" }],</a:t>
            </a:r>
          </a:p>
          <a:p>
            <a:r>
              <a:rPr lang="en-US" sz="850" dirty="0"/>
              <a:t>  "</a:t>
            </a:r>
            <a:r>
              <a:rPr lang="en-US" sz="850" dirty="0" err="1"/>
              <a:t>linked_records</a:t>
            </a:r>
            <a:r>
              <a:rPr lang="en-US" sz="850" dirty="0"/>
              <a:t>": {</a:t>
            </a:r>
          </a:p>
          <a:p>
            <a:r>
              <a:rPr lang="en-US" sz="850" dirty="0"/>
              <a:t>    "Execution Logs": [{</a:t>
            </a:r>
          </a:p>
          <a:p>
            <a:r>
              <a:rPr lang="en-US" sz="850" dirty="0"/>
              <a:t>      "_id": "603142817",</a:t>
            </a:r>
          </a:p>
          <a:p>
            <a:r>
              <a:rPr lang="en-US" sz="850" dirty="0"/>
              <a:t>      "fields": { "Status": "Passed", "Tester": “John Smith" },</a:t>
            </a:r>
          </a:p>
          <a:p>
            <a:r>
              <a:rPr lang="en-US" sz="850" dirty="0"/>
              <a:t>      "</a:t>
            </a:r>
            <a:r>
              <a:rPr lang="en-US" sz="850" dirty="0" err="1"/>
              <a:t>linked_records</a:t>
            </a:r>
            <a:r>
              <a:rPr lang="en-US" sz="850" dirty="0"/>
              <a:t>": {</a:t>
            </a:r>
          </a:p>
          <a:p>
            <a:r>
              <a:rPr lang="en-US" sz="850" dirty="0"/>
              <a:t>        "Steps": [{ "_id": "2553356658", "fields": { "Status": "Passed" } }]</a:t>
            </a:r>
          </a:p>
          <a:p>
            <a:r>
              <a:rPr lang="en-US" sz="850" dirty="0"/>
              <a:t>      }</a:t>
            </a:r>
          </a:p>
          <a:p>
            <a:r>
              <a:rPr lang="en-US" sz="850" dirty="0"/>
              <a:t>    }]</a:t>
            </a:r>
          </a:p>
          <a:p>
            <a:r>
              <a:rPr lang="en-US" sz="850" dirty="0"/>
              <a:t>  }</a:t>
            </a:r>
          </a:p>
          <a:p>
            <a:r>
              <a:rPr lang="en-US" sz="850" dirty="0"/>
              <a:t>}</a:t>
            </a:r>
          </a:p>
        </p:txBody>
      </p:sp>
      <p:sp>
        <p:nvSpPr>
          <p:cNvPr id="73" name="Shape 71">
            <a:extLst>
              <a:ext uri="{FF2B5EF4-FFF2-40B4-BE49-F238E27FC236}">
                <a16:creationId xmlns:a16="http://schemas.microsoft.com/office/drawing/2014/main" id="{3FCEDE32-E5C9-9784-A6F8-F3A812732090}"/>
              </a:ext>
            </a:extLst>
          </p:cNvPr>
          <p:cNvSpPr/>
          <p:nvPr/>
        </p:nvSpPr>
        <p:spPr>
          <a:xfrm>
            <a:off x="320040" y="3990756"/>
            <a:ext cx="4160520" cy="841248"/>
          </a:xfrm>
          <a:prstGeom prst="roundRect">
            <a:avLst>
              <a:gd name="adj" fmla="val 8696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4" name="Text 72">
            <a:extLst>
              <a:ext uri="{FF2B5EF4-FFF2-40B4-BE49-F238E27FC236}">
                <a16:creationId xmlns:a16="http://schemas.microsoft.com/office/drawing/2014/main" id="{642225C6-C5E2-CCDA-1E91-1C6CE9DAD4C3}"/>
              </a:ext>
            </a:extLst>
          </p:cNvPr>
          <p:cNvSpPr/>
          <p:nvPr/>
        </p:nvSpPr>
        <p:spPr>
          <a:xfrm>
            <a:off x="457200" y="4045620"/>
            <a:ext cx="38404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0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050" dirty="0"/>
          </a:p>
        </p:txBody>
      </p:sp>
      <p:sp>
        <p:nvSpPr>
          <p:cNvPr id="75" name="Text 73">
            <a:extLst>
              <a:ext uri="{FF2B5EF4-FFF2-40B4-BE49-F238E27FC236}">
                <a16:creationId xmlns:a16="http://schemas.microsoft.com/office/drawing/2014/main" id="{EC811C46-9215-C8C1-B309-20A8530CFAAA}"/>
              </a:ext>
            </a:extLst>
          </p:cNvPr>
          <p:cNvSpPr/>
          <p:nvPr/>
        </p:nvSpPr>
        <p:spPr>
          <a:xfrm>
            <a:off x="457200" y="4301652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Id</a:t>
            </a:r>
            <a:endParaRPr lang="en-US" sz="850" dirty="0"/>
          </a:p>
        </p:txBody>
      </p:sp>
      <p:sp>
        <p:nvSpPr>
          <p:cNvPr id="76" name="Text 74">
            <a:extLst>
              <a:ext uri="{FF2B5EF4-FFF2-40B4-BE49-F238E27FC236}">
                <a16:creationId xmlns:a16="http://schemas.microsoft.com/office/drawing/2014/main" id="{ECEAB8D8-30A1-7074-10D2-2B296EC50B4E}"/>
              </a:ext>
            </a:extLst>
          </p:cNvPr>
          <p:cNvSpPr/>
          <p:nvPr/>
        </p:nvSpPr>
        <p:spPr>
          <a:xfrm>
            <a:off x="1847088" y="4301652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UID — use for /history and /routes</a:t>
            </a:r>
            <a:endParaRPr lang="en-US" sz="850" dirty="0"/>
          </a:p>
        </p:txBody>
      </p:sp>
      <p:sp>
        <p:nvSpPr>
          <p:cNvPr id="77" name="Text 75">
            <a:extLst>
              <a:ext uri="{FF2B5EF4-FFF2-40B4-BE49-F238E27FC236}">
                <a16:creationId xmlns:a16="http://schemas.microsoft.com/office/drawing/2014/main" id="{770ACDE6-632C-A69F-BB7A-21E17D3EC5A9}"/>
              </a:ext>
            </a:extLst>
          </p:cNvPr>
          <p:cNvSpPr/>
          <p:nvPr/>
        </p:nvSpPr>
        <p:spPr>
          <a:xfrm>
            <a:off x="457200" y="4429668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Name</a:t>
            </a:r>
            <a:endParaRPr lang="en-US" sz="850" dirty="0"/>
          </a:p>
        </p:txBody>
      </p:sp>
      <p:sp>
        <p:nvSpPr>
          <p:cNvPr id="78" name="Text 76">
            <a:extLst>
              <a:ext uri="{FF2B5EF4-FFF2-40B4-BE49-F238E27FC236}">
                <a16:creationId xmlns:a16="http://schemas.microsoft.com/office/drawing/2014/main" id="{21C2305D-D3C3-8E57-BD13-558DD1CC5B58}"/>
              </a:ext>
            </a:extLst>
          </p:cNvPr>
          <p:cNvSpPr/>
          <p:nvPr/>
        </p:nvSpPr>
        <p:spPr>
          <a:xfrm>
            <a:off x="1847088" y="4429668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uman-readable record name</a:t>
            </a:r>
            <a:endParaRPr lang="en-US" sz="850" dirty="0"/>
          </a:p>
        </p:txBody>
      </p:sp>
      <p:sp>
        <p:nvSpPr>
          <p:cNvPr id="79" name="Text 77">
            <a:extLst>
              <a:ext uri="{FF2B5EF4-FFF2-40B4-BE49-F238E27FC236}">
                <a16:creationId xmlns:a16="http://schemas.microsoft.com/office/drawing/2014/main" id="{BA1AF963-51B0-41C2-E6A2-27AC4B3090CA}"/>
              </a:ext>
            </a:extLst>
          </p:cNvPr>
          <p:cNvSpPr/>
          <p:nvPr/>
        </p:nvSpPr>
        <p:spPr>
          <a:xfrm>
            <a:off x="457200" y="4557684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Type</a:t>
            </a:r>
            <a:endParaRPr lang="en-US" sz="850" dirty="0"/>
          </a:p>
        </p:txBody>
      </p:sp>
      <p:sp>
        <p:nvSpPr>
          <p:cNvPr id="80" name="Text 78">
            <a:extLst>
              <a:ext uri="{FF2B5EF4-FFF2-40B4-BE49-F238E27FC236}">
                <a16:creationId xmlns:a16="http://schemas.microsoft.com/office/drawing/2014/main" id="{FBE1ED7E-4A1E-763F-7C12-8ECF527EA980}"/>
              </a:ext>
            </a:extLst>
          </p:cNvPr>
          <p:cNvSpPr/>
          <p:nvPr/>
        </p:nvSpPr>
        <p:spPr>
          <a:xfrm>
            <a:off x="1847088" y="4557684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.g. qTest Defect, qTest Test Case</a:t>
            </a:r>
            <a:endParaRPr lang="en-US" sz="850" dirty="0"/>
          </a:p>
        </p:txBody>
      </p:sp>
      <p:sp>
        <p:nvSpPr>
          <p:cNvPr id="81" name="Text 79">
            <a:extLst>
              <a:ext uri="{FF2B5EF4-FFF2-40B4-BE49-F238E27FC236}">
                <a16:creationId xmlns:a16="http://schemas.microsoft.com/office/drawing/2014/main" id="{65A506CB-2F37-E078-3D80-0E7C944460B6}"/>
              </a:ext>
            </a:extLst>
          </p:cNvPr>
          <p:cNvSpPr/>
          <p:nvPr/>
        </p:nvSpPr>
        <p:spPr>
          <a:xfrm>
            <a:off x="457200" y="4685700"/>
            <a:ext cx="1371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Status</a:t>
            </a:r>
            <a:endParaRPr lang="en-US" sz="850" dirty="0"/>
          </a:p>
        </p:txBody>
      </p:sp>
      <p:sp>
        <p:nvSpPr>
          <p:cNvPr id="82" name="Text 80">
            <a:extLst>
              <a:ext uri="{FF2B5EF4-FFF2-40B4-BE49-F238E27FC236}">
                <a16:creationId xmlns:a16="http://schemas.microsoft.com/office/drawing/2014/main" id="{75B8A4D6-3C79-0D47-A275-9096E9ABE678}"/>
              </a:ext>
            </a:extLst>
          </p:cNvPr>
          <p:cNvSpPr/>
          <p:nvPr/>
        </p:nvSpPr>
        <p:spPr>
          <a:xfrm>
            <a:off x="1847088" y="4685700"/>
            <a:ext cx="2514600" cy="11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8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.g. Approved, Rejected, Pending</a:t>
            </a:r>
            <a:endParaRPr lang="en-US" sz="850" dirty="0"/>
          </a:p>
        </p:txBody>
      </p:sp>
      <p:sp>
        <p:nvSpPr>
          <p:cNvPr id="101" name="Text 3">
            <a:extLst>
              <a:ext uri="{FF2B5EF4-FFF2-40B4-BE49-F238E27FC236}">
                <a16:creationId xmlns:a16="http://schemas.microsoft.com/office/drawing/2014/main" id="{BB5DA269-FBDA-DCC0-E3EB-8D54DADF0B77}"/>
              </a:ext>
            </a:extLst>
          </p:cNvPr>
          <p:cNvSpPr/>
          <p:nvPr/>
        </p:nvSpPr>
        <p:spPr>
          <a:xfrm>
            <a:off x="320040" y="723688"/>
            <a:ext cx="850392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full record data including field values, workflow state, linked records in a single call.</a:t>
            </a:r>
            <a:endParaRPr lang="en-US" sz="1150" dirty="0"/>
          </a:p>
        </p:txBody>
      </p:sp>
      <p:sp>
        <p:nvSpPr>
          <p:cNvPr id="102" name="Shape 4">
            <a:extLst>
              <a:ext uri="{FF2B5EF4-FFF2-40B4-BE49-F238E27FC236}">
                <a16:creationId xmlns:a16="http://schemas.microsoft.com/office/drawing/2014/main" id="{08EE8F46-0B21-3377-9842-B7091446524F}"/>
              </a:ext>
            </a:extLst>
          </p:cNvPr>
          <p:cNvSpPr/>
          <p:nvPr/>
        </p:nvSpPr>
        <p:spPr>
          <a:xfrm>
            <a:off x="320040" y="1116880"/>
            <a:ext cx="8503920" cy="43891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3" name="Shape 5">
            <a:extLst>
              <a:ext uri="{FF2B5EF4-FFF2-40B4-BE49-F238E27FC236}">
                <a16:creationId xmlns:a16="http://schemas.microsoft.com/office/drawing/2014/main" id="{3D30B1F8-4AF8-FA58-EDC2-0D2A25543574}"/>
              </a:ext>
            </a:extLst>
          </p:cNvPr>
          <p:cNvSpPr/>
          <p:nvPr/>
        </p:nvSpPr>
        <p:spPr>
          <a:xfrm>
            <a:off x="457200" y="1226608"/>
            <a:ext cx="658368" cy="237744"/>
          </a:xfrm>
          <a:prstGeom prst="roundRect">
            <a:avLst>
              <a:gd name="adj" fmla="val 2307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04" name="Text 6">
            <a:extLst>
              <a:ext uri="{FF2B5EF4-FFF2-40B4-BE49-F238E27FC236}">
                <a16:creationId xmlns:a16="http://schemas.microsoft.com/office/drawing/2014/main" id="{E39F3D4E-16BF-9BF3-4E6C-27BDD73AFD35}"/>
              </a:ext>
            </a:extLst>
          </p:cNvPr>
          <p:cNvSpPr/>
          <p:nvPr/>
        </p:nvSpPr>
        <p:spPr>
          <a:xfrm>
            <a:off x="457200" y="1226608"/>
            <a:ext cx="658368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800" dirty="0"/>
          </a:p>
        </p:txBody>
      </p:sp>
      <p:sp>
        <p:nvSpPr>
          <p:cNvPr id="105" name="Text 7">
            <a:extLst>
              <a:ext uri="{FF2B5EF4-FFF2-40B4-BE49-F238E27FC236}">
                <a16:creationId xmlns:a16="http://schemas.microsoft.com/office/drawing/2014/main" id="{D28EEF69-FE2F-79A7-826A-9C8E0BC1EC9C}"/>
              </a:ext>
            </a:extLst>
          </p:cNvPr>
          <p:cNvSpPr/>
          <p:nvPr/>
        </p:nvSpPr>
        <p:spPr>
          <a:xfrm>
            <a:off x="1188720" y="1171744"/>
            <a:ext cx="74066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5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{recordId}?createLinkedRecords=true</a:t>
            </a:r>
            <a:endParaRPr lang="en-US" sz="1250" dirty="0"/>
          </a:p>
        </p:txBody>
      </p:sp>
      <p:sp>
        <p:nvSpPr>
          <p:cNvPr id="106" name="Title 105">
            <a:extLst>
              <a:ext uri="{FF2B5EF4-FFF2-40B4-BE49-F238E27FC236}">
                <a16:creationId xmlns:a16="http://schemas.microsoft.com/office/drawing/2014/main" id="{516279CB-837B-A36B-ECA8-D8C15AD13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Record Detail</a:t>
            </a:r>
          </a:p>
        </p:txBody>
      </p:sp>
    </p:spTree>
    <p:extLst>
      <p:ext uri="{BB962C8B-B14F-4D97-AF65-F5344CB8AC3E}">
        <p14:creationId xmlns:p14="http://schemas.microsoft.com/office/powerpoint/2010/main" val="1364626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7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320040" y="886968"/>
            <a:ext cx="850392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5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trieve full record data including field values, workflow state, linked records in a single call.</a:t>
            </a:r>
            <a:endParaRPr lang="en-US" sz="1150" dirty="0"/>
          </a:p>
        </p:txBody>
      </p:sp>
      <p:sp>
        <p:nvSpPr>
          <p:cNvPr id="6" name="Shape 4"/>
          <p:cNvSpPr/>
          <p:nvPr/>
        </p:nvSpPr>
        <p:spPr>
          <a:xfrm>
            <a:off x="320040" y="1280160"/>
            <a:ext cx="8503920" cy="43891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457200" y="1389888"/>
            <a:ext cx="658368" cy="237744"/>
          </a:xfrm>
          <a:prstGeom prst="roundRect">
            <a:avLst>
              <a:gd name="adj" fmla="val 23077"/>
            </a:avLst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6"/>
          <p:cNvSpPr/>
          <p:nvPr/>
        </p:nvSpPr>
        <p:spPr>
          <a:xfrm>
            <a:off x="457200" y="1389888"/>
            <a:ext cx="658368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8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ET</a:t>
            </a:r>
            <a:endParaRPr lang="en-US" sz="800" dirty="0"/>
          </a:p>
        </p:txBody>
      </p:sp>
      <p:sp>
        <p:nvSpPr>
          <p:cNvPr id="9" name="Text 7"/>
          <p:cNvSpPr/>
          <p:nvPr/>
        </p:nvSpPr>
        <p:spPr>
          <a:xfrm>
            <a:off x="1188720" y="1335024"/>
            <a:ext cx="74066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50" b="1" dirty="0">
                <a:solidFill>
                  <a:srgbClr val="1B3A5C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/api/v1/records/{recordId}?createLinkedRecords=true</a:t>
            </a:r>
            <a:endParaRPr lang="en-US" sz="1250" dirty="0"/>
          </a:p>
        </p:txBody>
      </p:sp>
      <p:sp>
        <p:nvSpPr>
          <p:cNvPr id="12" name="Shape 10"/>
          <p:cNvSpPr/>
          <p:nvPr/>
        </p:nvSpPr>
        <p:spPr>
          <a:xfrm>
            <a:off x="320040" y="1981639"/>
            <a:ext cx="48463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3" name="Text 11"/>
          <p:cNvSpPr/>
          <p:nvPr/>
        </p:nvSpPr>
        <p:spPr>
          <a:xfrm>
            <a:off x="457200" y="2056097"/>
            <a:ext cx="45720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it returns</a:t>
            </a:r>
            <a:endParaRPr lang="en-US" sz="1100" dirty="0"/>
          </a:p>
        </p:txBody>
      </p:sp>
      <p:sp>
        <p:nvSpPr>
          <p:cNvPr id="14" name="Shape 12"/>
          <p:cNvSpPr/>
          <p:nvPr/>
        </p:nvSpPr>
        <p:spPr>
          <a:xfrm>
            <a:off x="438912" y="2458433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5" name="Text 13"/>
          <p:cNvSpPr/>
          <p:nvPr/>
        </p:nvSpPr>
        <p:spPr>
          <a:xfrm>
            <a:off x="621792" y="2376137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fields &amp; metadata</a:t>
            </a:r>
            <a:endParaRPr lang="en-US" sz="950" dirty="0"/>
          </a:p>
        </p:txBody>
      </p:sp>
      <p:sp>
        <p:nvSpPr>
          <p:cNvPr id="16" name="Text 14"/>
          <p:cNvSpPr/>
          <p:nvPr/>
        </p:nvSpPr>
        <p:spPr>
          <a:xfrm>
            <a:off x="621792" y="2568161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re record fields (Status, Priority, Environment, Assigned To), revision, version, workflow state, and domain.</a:t>
            </a:r>
            <a:endParaRPr lang="en-US" sz="900" dirty="0"/>
          </a:p>
        </p:txBody>
      </p:sp>
      <p:sp>
        <p:nvSpPr>
          <p:cNvPr id="17" name="Shape 15"/>
          <p:cNvSpPr/>
          <p:nvPr/>
        </p:nvSpPr>
        <p:spPr>
          <a:xfrm>
            <a:off x="438912" y="2860769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8" name="Text 16"/>
          <p:cNvSpPr/>
          <p:nvPr/>
        </p:nvSpPr>
        <p:spPr>
          <a:xfrm>
            <a:off x="621792" y="2778473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ocations</a:t>
            </a:r>
            <a:endParaRPr lang="en-US" sz="950" dirty="0"/>
          </a:p>
        </p:txBody>
      </p:sp>
      <p:sp>
        <p:nvSpPr>
          <p:cNvPr id="19" name="Text 17"/>
          <p:cNvSpPr/>
          <p:nvPr/>
        </p:nvSpPr>
        <p:spPr>
          <a:xfrm>
            <a:off x="621792" y="2957435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urce system links — qTest Test Run (TR-13) with API and Browser URLs, plus the Vera record connection.</a:t>
            </a:r>
            <a:endParaRPr lang="en-US" sz="900" dirty="0"/>
          </a:p>
        </p:txBody>
      </p:sp>
      <p:sp>
        <p:nvSpPr>
          <p:cNvPr id="20" name="Shape 18"/>
          <p:cNvSpPr/>
          <p:nvPr/>
        </p:nvSpPr>
        <p:spPr>
          <a:xfrm>
            <a:off x="438912" y="3263105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1" name="Text 19"/>
          <p:cNvSpPr/>
          <p:nvPr/>
        </p:nvSpPr>
        <p:spPr>
          <a:xfrm>
            <a:off x="621792" y="3180809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95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ub Records / Linked Records (ex. Execution Logs &amp; Test Step Logs) </a:t>
            </a:r>
            <a:endParaRPr lang="en-US" sz="950" dirty="0"/>
          </a:p>
        </p:txBody>
      </p:sp>
      <p:sp>
        <p:nvSpPr>
          <p:cNvPr id="22" name="Text 20"/>
          <p:cNvSpPr/>
          <p:nvPr/>
        </p:nvSpPr>
        <p:spPr>
          <a:xfrm>
            <a:off x="621792" y="3353240"/>
            <a:ext cx="4389120" cy="5577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sted test log records with tester, execution type, start/end timestamps, and overall pass/fail status</a:t>
            </a:r>
          </a:p>
          <a:p>
            <a:r>
              <a:rPr lang="en-US" sz="90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ach step under the execution log: description, expected result, actual result, status (Passed/Failed), and tester.</a:t>
            </a:r>
            <a:endParaRPr lang="en-US" sz="900" dirty="0"/>
          </a:p>
        </p:txBody>
      </p:sp>
      <p:sp>
        <p:nvSpPr>
          <p:cNvPr id="23" name="Shape 21"/>
          <p:cNvSpPr/>
          <p:nvPr/>
        </p:nvSpPr>
        <p:spPr>
          <a:xfrm>
            <a:off x="438912" y="3665441"/>
            <a:ext cx="128016" cy="128016"/>
          </a:xfrm>
          <a:prstGeom prst="line">
            <a:avLst/>
          </a:prstGeom>
          <a:solidFill>
            <a:srgbClr val="028090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4" name="Text 22"/>
          <p:cNvSpPr/>
          <p:nvPr/>
        </p:nvSpPr>
        <p:spPr>
          <a:xfrm>
            <a:off x="621792" y="3583145"/>
            <a:ext cx="4389120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endParaRPr lang="en-US" sz="950" dirty="0"/>
          </a:p>
        </p:txBody>
      </p:sp>
      <p:sp>
        <p:nvSpPr>
          <p:cNvPr id="26" name="Shape 24"/>
          <p:cNvSpPr/>
          <p:nvPr/>
        </p:nvSpPr>
        <p:spPr>
          <a:xfrm>
            <a:off x="5349240" y="1992089"/>
            <a:ext cx="3474720" cy="2103120"/>
          </a:xfrm>
          <a:prstGeom prst="roundRect">
            <a:avLst>
              <a:gd name="adj" fmla="val 3478"/>
            </a:avLst>
          </a:prstGeom>
          <a:solidFill>
            <a:srgbClr val="FFFFFF"/>
          </a:solidFill>
          <a:ln w="9525">
            <a:solidFill>
              <a:srgbClr val="CBD5E1"/>
            </a:solidFill>
            <a:prstDash val="solid"/>
          </a:ln>
          <a:effectLst>
            <a:outerShdw blurRad="101600" dist="25400" dir="2700000" algn="bl" rotWithShape="0">
              <a:srgbClr val="000000">
                <a:alpha val="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7" name="Text 25"/>
          <p:cNvSpPr/>
          <p:nvPr/>
        </p:nvSpPr>
        <p:spPr>
          <a:xfrm>
            <a:off x="5486400" y="2056097"/>
            <a:ext cx="320040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b="1" dirty="0">
                <a:solidFill>
                  <a:srgbClr val="1B3A5C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Key Response Fields</a:t>
            </a:r>
            <a:endParaRPr lang="en-US" sz="1100" dirty="0"/>
          </a:p>
        </p:txBody>
      </p:sp>
      <p:sp>
        <p:nvSpPr>
          <p:cNvPr id="28" name="Text 26"/>
          <p:cNvSpPr/>
          <p:nvPr/>
        </p:nvSpPr>
        <p:spPr>
          <a:xfrm>
            <a:off x="5486400" y="2385281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_id</a:t>
            </a:r>
            <a:endParaRPr lang="en-US" sz="780" dirty="0"/>
          </a:p>
        </p:txBody>
      </p:sp>
      <p:sp>
        <p:nvSpPr>
          <p:cNvPr id="29" name="Text 27"/>
          <p:cNvSpPr/>
          <p:nvPr/>
        </p:nvSpPr>
        <p:spPr>
          <a:xfrm>
            <a:off x="7196328" y="2385281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a record UUID</a:t>
            </a:r>
            <a:endParaRPr lang="en-US" sz="780" dirty="0"/>
          </a:p>
        </p:txBody>
      </p:sp>
      <p:sp>
        <p:nvSpPr>
          <p:cNvPr id="30" name="Text 28"/>
          <p:cNvSpPr/>
          <p:nvPr/>
        </p:nvSpPr>
        <p:spPr>
          <a:xfrm>
            <a:off x="5486400" y="2559017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name</a:t>
            </a:r>
            <a:endParaRPr lang="en-US" sz="780" dirty="0"/>
          </a:p>
        </p:txBody>
      </p:sp>
      <p:sp>
        <p:nvSpPr>
          <p:cNvPr id="31" name="Text 29"/>
          <p:cNvSpPr/>
          <p:nvPr/>
        </p:nvSpPr>
        <p:spPr>
          <a:xfrm>
            <a:off x="7196328" y="2559017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cord display name (e.g. TR-13)</a:t>
            </a:r>
            <a:endParaRPr lang="en-US" sz="780" dirty="0"/>
          </a:p>
        </p:txBody>
      </p:sp>
      <p:sp>
        <p:nvSpPr>
          <p:cNvPr id="32" name="Text 30"/>
          <p:cNvSpPr/>
          <p:nvPr/>
        </p:nvSpPr>
        <p:spPr>
          <a:xfrm>
            <a:off x="5486400" y="2732753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cord_type</a:t>
            </a:r>
            <a:endParaRPr lang="en-US" sz="780" dirty="0"/>
          </a:p>
        </p:txBody>
      </p:sp>
      <p:sp>
        <p:nvSpPr>
          <p:cNvPr id="33" name="Text 31"/>
          <p:cNvSpPr/>
          <p:nvPr/>
        </p:nvSpPr>
        <p:spPr>
          <a:xfrm>
            <a:off x="7196328" y="2732753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.g. qTest Test Run</a:t>
            </a:r>
            <a:endParaRPr lang="en-US" sz="780" dirty="0"/>
          </a:p>
        </p:txBody>
      </p:sp>
      <p:sp>
        <p:nvSpPr>
          <p:cNvPr id="34" name="Text 32"/>
          <p:cNvSpPr/>
          <p:nvPr/>
        </p:nvSpPr>
        <p:spPr>
          <a:xfrm>
            <a:off x="5486400" y="2906489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status</a:t>
            </a:r>
            <a:endParaRPr lang="en-US" sz="780" dirty="0"/>
          </a:p>
        </p:txBody>
      </p:sp>
      <p:sp>
        <p:nvSpPr>
          <p:cNvPr id="35" name="Text 33"/>
          <p:cNvSpPr/>
          <p:nvPr/>
        </p:nvSpPr>
        <p:spPr>
          <a:xfrm>
            <a:off x="7196328" y="2906489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era workflow status (Approved)</a:t>
            </a:r>
            <a:endParaRPr lang="en-US" sz="780" dirty="0"/>
          </a:p>
        </p:txBody>
      </p:sp>
      <p:sp>
        <p:nvSpPr>
          <p:cNvPr id="36" name="Text 34"/>
          <p:cNvSpPr/>
          <p:nvPr/>
        </p:nvSpPr>
        <p:spPr>
          <a:xfrm>
            <a:off x="5486400" y="3080225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fields.Status</a:t>
            </a:r>
            <a:endParaRPr lang="en-US" sz="780" dirty="0"/>
          </a:p>
        </p:txBody>
      </p:sp>
      <p:sp>
        <p:nvSpPr>
          <p:cNvPr id="37" name="Text 35"/>
          <p:cNvSpPr/>
          <p:nvPr/>
        </p:nvSpPr>
        <p:spPr>
          <a:xfrm>
            <a:off x="7196328" y="3080225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urce system status (Passed)</a:t>
            </a:r>
            <a:endParaRPr lang="en-US" sz="780" dirty="0"/>
          </a:p>
        </p:txBody>
      </p:sp>
      <p:sp>
        <p:nvSpPr>
          <p:cNvPr id="38" name="Text 36"/>
          <p:cNvSpPr/>
          <p:nvPr/>
        </p:nvSpPr>
        <p:spPr>
          <a:xfrm>
            <a:off x="5486400" y="3253961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fields.Assigned To</a:t>
            </a:r>
            <a:endParaRPr lang="en-US" sz="780" dirty="0"/>
          </a:p>
        </p:txBody>
      </p:sp>
      <p:sp>
        <p:nvSpPr>
          <p:cNvPr id="39" name="Text 37"/>
          <p:cNvSpPr/>
          <p:nvPr/>
        </p:nvSpPr>
        <p:spPr>
          <a:xfrm>
            <a:off x="7196328" y="3253961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ssignee in source system</a:t>
            </a:r>
            <a:endParaRPr lang="en-US" sz="780" dirty="0"/>
          </a:p>
        </p:txBody>
      </p:sp>
      <p:sp>
        <p:nvSpPr>
          <p:cNvPr id="40" name="Text 38"/>
          <p:cNvSpPr/>
          <p:nvPr/>
        </p:nvSpPr>
        <p:spPr>
          <a:xfrm>
            <a:off x="5486400" y="3427697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revision</a:t>
            </a:r>
            <a:endParaRPr lang="en-US" sz="780" dirty="0"/>
          </a:p>
        </p:txBody>
      </p:sp>
      <p:sp>
        <p:nvSpPr>
          <p:cNvPr id="41" name="Text 39"/>
          <p:cNvSpPr/>
          <p:nvPr/>
        </p:nvSpPr>
        <p:spPr>
          <a:xfrm>
            <a:off x="7196328" y="3427697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rrent revision number</a:t>
            </a:r>
            <a:endParaRPr lang="en-US" sz="780" dirty="0"/>
          </a:p>
        </p:txBody>
      </p:sp>
      <p:sp>
        <p:nvSpPr>
          <p:cNvPr id="42" name="Text 40"/>
          <p:cNvSpPr/>
          <p:nvPr/>
        </p:nvSpPr>
        <p:spPr>
          <a:xfrm>
            <a:off x="5486400" y="3601433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ocations[].urls.Browser</a:t>
            </a:r>
            <a:endParaRPr lang="en-US" sz="780" dirty="0"/>
          </a:p>
        </p:txBody>
      </p:sp>
      <p:sp>
        <p:nvSpPr>
          <p:cNvPr id="43" name="Text 41"/>
          <p:cNvSpPr/>
          <p:nvPr/>
        </p:nvSpPr>
        <p:spPr>
          <a:xfrm>
            <a:off x="7196328" y="3601433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irect link to qTest record</a:t>
            </a:r>
            <a:endParaRPr lang="en-US" sz="780" dirty="0"/>
          </a:p>
        </p:txBody>
      </p:sp>
      <p:sp>
        <p:nvSpPr>
          <p:cNvPr id="44" name="Text 42"/>
          <p:cNvSpPr/>
          <p:nvPr/>
        </p:nvSpPr>
        <p:spPr>
          <a:xfrm>
            <a:off x="5486400" y="3775169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inked_records.Execution Logs</a:t>
            </a:r>
            <a:endParaRPr lang="en-US" sz="780" dirty="0"/>
          </a:p>
        </p:txBody>
      </p:sp>
      <p:sp>
        <p:nvSpPr>
          <p:cNvPr id="45" name="Text 43"/>
          <p:cNvSpPr/>
          <p:nvPr/>
        </p:nvSpPr>
        <p:spPr>
          <a:xfrm>
            <a:off x="7196328" y="3775169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sted test log records</a:t>
            </a:r>
            <a:endParaRPr lang="en-US" sz="780" dirty="0"/>
          </a:p>
        </p:txBody>
      </p:sp>
      <p:sp>
        <p:nvSpPr>
          <p:cNvPr id="46" name="Text 44"/>
          <p:cNvSpPr/>
          <p:nvPr/>
        </p:nvSpPr>
        <p:spPr>
          <a:xfrm>
            <a:off x="5486400" y="3948905"/>
            <a:ext cx="169164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b="1" dirty="0">
                <a:solidFill>
                  <a:srgbClr val="02809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...linked_records.Steps</a:t>
            </a:r>
            <a:endParaRPr lang="en-US" sz="780" dirty="0"/>
          </a:p>
        </p:txBody>
      </p:sp>
      <p:sp>
        <p:nvSpPr>
          <p:cNvPr id="47" name="Text 45"/>
          <p:cNvSpPr/>
          <p:nvPr/>
        </p:nvSpPr>
        <p:spPr>
          <a:xfrm>
            <a:off x="7196328" y="3948905"/>
            <a:ext cx="1508760" cy="1554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780" dirty="0">
                <a:solidFill>
                  <a:srgbClr val="475569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sted test step log records</a:t>
            </a:r>
            <a:endParaRPr lang="en-US" sz="780" dirty="0"/>
          </a:p>
        </p:txBody>
      </p:sp>
      <p:sp>
        <p:nvSpPr>
          <p:cNvPr id="48" name="Shape 46"/>
          <p:cNvSpPr/>
          <p:nvPr/>
        </p:nvSpPr>
        <p:spPr>
          <a:xfrm>
            <a:off x="320040" y="4407408"/>
            <a:ext cx="8503920" cy="274320"/>
          </a:xfrm>
          <a:prstGeom prst="roundRect">
            <a:avLst>
              <a:gd name="adj" fmla="val 13333"/>
            </a:avLst>
          </a:prstGeom>
          <a:solidFill>
            <a:srgbClr val="E6F4F6"/>
          </a:solidFill>
          <a:ln w="9525">
            <a:solidFill>
              <a:srgbClr val="B2DDE3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49" name="Text 47"/>
          <p:cNvSpPr/>
          <p:nvPr/>
        </p:nvSpPr>
        <p:spPr>
          <a:xfrm>
            <a:off x="457200" y="4407408"/>
            <a:ext cx="83210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950" i="1" dirty="0">
                <a:solidFill>
                  <a:srgbClr val="02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💡  createLinkedRecords=true expands linked_records inline — without it the response contains only the top-level record.</a:t>
            </a:r>
            <a:endParaRPr lang="en-US" sz="950" dirty="0"/>
          </a:p>
        </p:txBody>
      </p:sp>
      <p:sp>
        <p:nvSpPr>
          <p:cNvPr id="50" name="Title 49">
            <a:extLst>
              <a:ext uri="{FF2B5EF4-FFF2-40B4-BE49-F238E27FC236}">
                <a16:creationId xmlns:a16="http://schemas.microsoft.com/office/drawing/2014/main" id="{A296CFCF-ECBC-E97C-57D5-F88956417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Record Detail (continued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ricentis PPM 2022 theme">
  <a:themeElements>
    <a:clrScheme name="TRICENTIS">
      <a:dk1>
        <a:srgbClr val="010101"/>
      </a:dk1>
      <a:lt1>
        <a:srgbClr val="FFFFFF"/>
      </a:lt1>
      <a:dk2>
        <a:srgbClr val="4E4F51"/>
      </a:dk2>
      <a:lt2>
        <a:srgbClr val="BBBBBB"/>
      </a:lt2>
      <a:accent1>
        <a:srgbClr val="004C97"/>
      </a:accent1>
      <a:accent2>
        <a:srgbClr val="1C375D"/>
      </a:accent2>
      <a:accent3>
        <a:srgbClr val="6492CD"/>
      </a:accent3>
      <a:accent4>
        <a:srgbClr val="416A98"/>
      </a:accent4>
      <a:accent5>
        <a:srgbClr val="0E88AE"/>
      </a:accent5>
      <a:accent6>
        <a:srgbClr val="5BC9E6"/>
      </a:accent6>
      <a:hlink>
        <a:srgbClr val="0E88AE"/>
      </a:hlink>
      <a:folHlink>
        <a:srgbClr val="5BC9E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b="0" i="0" dirty="0" smtClean="0">
            <a:solidFill>
              <a:schemeClr val="tx2"/>
            </a:solidFill>
            <a:latin typeface="Open Sans Light" panose="020B0306030504020204" pitchFamily="34" charset="0"/>
            <a:ea typeface="Open Sans Light" panose="020B0306030504020204" pitchFamily="34" charset="0"/>
            <a:cs typeface="Open Sans Light" panose="020B03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icentis PPM 2022 theme" id="{A61BA882-80C4-0A43-B1F5-85C8C3AD7EC3}" vid="{F7CDC1C1-DED7-B24F-B851-A0C0877D627A}"/>
    </a:ext>
  </a:extLst>
</a:theme>
</file>

<file path=ppt/theme/theme2.xml><?xml version="1.0" encoding="utf-8"?>
<a:theme xmlns:a="http://schemas.openxmlformats.org/drawingml/2006/main" name="Tricentis Theme">
  <a:themeElements>
    <a:clrScheme name="Tricentis 2023">
      <a:dk1>
        <a:srgbClr val="181816"/>
      </a:dk1>
      <a:lt1>
        <a:srgbClr val="FFFFFF"/>
      </a:lt1>
      <a:dk2>
        <a:srgbClr val="4E4F51"/>
      </a:dk2>
      <a:lt2>
        <a:srgbClr val="898D8D"/>
      </a:lt2>
      <a:accent1>
        <a:srgbClr val="004C97"/>
      </a:accent1>
      <a:accent2>
        <a:srgbClr val="1C375D"/>
      </a:accent2>
      <a:accent3>
        <a:srgbClr val="007FFD"/>
      </a:accent3>
      <a:accent4>
        <a:srgbClr val="0E88AE"/>
      </a:accent4>
      <a:accent5>
        <a:srgbClr val="5BC9E6"/>
      </a:accent5>
      <a:accent6>
        <a:srgbClr val="D2D755"/>
      </a:accent6>
      <a:hlink>
        <a:srgbClr val="0E88AE"/>
      </a:hlink>
      <a:folHlink>
        <a:srgbClr val="5BC9E6"/>
      </a:folHlink>
    </a:clrScheme>
    <a:fontScheme name="Tricentis Font Theme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ccelerate">
      <a:srgbClr val="FF6C0E"/>
    </a:custClr>
    <a:custClr name="Fusion">
      <a:srgbClr val="FFB400"/>
    </a:custClr>
    <a:custClr name="Chestnut">
      <a:srgbClr val="988078"/>
    </a:custClr>
  </a:custClrLst>
  <a:extLst>
    <a:ext uri="{05A4C25C-085E-4340-85A3-A5531E510DB2}">
      <thm15:themeFamily xmlns:thm15="http://schemas.microsoft.com/office/thememl/2012/main" name="Presentation1" id="{54A7AE89-CF2C-A543-8B63-102080A58204}" vid="{D9EA2F59-CDBB-6E46-AE20-5832964DD5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351096fc-af59-430a-b0eb-2d2c8e11a03e" xsi:nil="true"/>
    <Date xmlns="629c6215-b19f-4f06-92a2-2dc959932c3f" xsi:nil="true"/>
    <lcf76f155ced4ddcb4097134ff3c332f xmlns="629c6215-b19f-4f06-92a2-2dc959932c3f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3DB26875A7A0478DA586E39BBF08EC" ma:contentTypeVersion="24" ma:contentTypeDescription="Create a new document." ma:contentTypeScope="" ma:versionID="a0b01529c68bf71ebdd672f70b72ecc8">
  <xsd:schema xmlns:xsd="http://www.w3.org/2001/XMLSchema" xmlns:xs="http://www.w3.org/2001/XMLSchema" xmlns:p="http://schemas.microsoft.com/office/2006/metadata/properties" xmlns:ns1="http://schemas.microsoft.com/sharepoint/v3" xmlns:ns2="629c6215-b19f-4f06-92a2-2dc959932c3f" xmlns:ns3="351096fc-af59-430a-b0eb-2d2c8e11a03e" targetNamespace="http://schemas.microsoft.com/office/2006/metadata/properties" ma:root="true" ma:fieldsID="01e9c08cb6df4de5cdcf02d4752aea5b" ns1:_="" ns2:_="" ns3:_="">
    <xsd:import namespace="http://schemas.microsoft.com/sharepoint/v3"/>
    <xsd:import namespace="629c6215-b19f-4f06-92a2-2dc959932c3f"/>
    <xsd:import namespace="351096fc-af59-430a-b0eb-2d2c8e11a0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Date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9c6215-b19f-4f06-92a2-2dc959932c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e4595c9-ff90-44bb-a49d-5557c05e4a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Date" ma:index="27" nillable="true" ma:displayName="Date" ma:format="DateOnly" ma:internalName="Date">
      <xsd:simpleType>
        <xsd:restriction base="dms:DateTime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1096fc-af59-430a-b0eb-2d2c8e11a03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77eb611-4b2a-4541-8f16-81fdc89a726f}" ma:internalName="TaxCatchAll" ma:showField="CatchAllData" ma:web="351096fc-af59-430a-b0eb-2d2c8e11a0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126C56-1931-4570-B1D6-FB7140EB9543}">
  <ds:schemaRefs>
    <ds:schemaRef ds:uri="f6b137dc-9378-4f97-b5a3-0f610f9233b9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506142a3-de4d-4370-9539-81467c435806"/>
    <ds:schemaRef ds:uri="http://schemas.microsoft.com/sharepoint/v3"/>
    <ds:schemaRef ds:uri="http://purl.org/dc/elements/1.1/"/>
    <ds:schemaRef ds:uri="351096fc-af59-430a-b0eb-2d2c8e11a03e"/>
    <ds:schemaRef ds:uri="629c6215-b19f-4f06-92a2-2dc959932c3f"/>
  </ds:schemaRefs>
</ds:datastoreItem>
</file>

<file path=customXml/itemProps2.xml><?xml version="1.0" encoding="utf-8"?>
<ds:datastoreItem xmlns:ds="http://schemas.openxmlformats.org/officeDocument/2006/customXml" ds:itemID="{F10065A4-EA6D-4580-86AD-E6AD56B12D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29c6215-b19f-4f06-92a2-2dc959932c3f"/>
    <ds:schemaRef ds:uri="351096fc-af59-430a-b0eb-2d2c8e11a0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1C3962-7EFF-4496-9357-21531ABBDF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era 2026.1 - Vera Workflow enablement</Template>
  <TotalTime>0</TotalTime>
  <Words>2425</Words>
  <Application>Microsoft Office PowerPoint</Application>
  <PresentationFormat>On-screen Show (16:9)</PresentationFormat>
  <Paragraphs>479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ourier New</vt:lpstr>
      <vt:lpstr>Open Sans</vt:lpstr>
      <vt:lpstr>Open Sans Condensed</vt:lpstr>
      <vt:lpstr>Open Sans Light</vt:lpstr>
      <vt:lpstr>Open Sans Semibold</vt:lpstr>
      <vt:lpstr>2_Tricentis PPM 2022 theme</vt:lpstr>
      <vt:lpstr>Tricentis Theme</vt:lpstr>
      <vt:lpstr>think-cell Slide</vt:lpstr>
      <vt:lpstr>Vera 2026.2 Enablement</vt:lpstr>
      <vt:lpstr>What you’ll learn</vt:lpstr>
      <vt:lpstr>What is the Vera Public API?</vt:lpstr>
      <vt:lpstr>Creating an API Key</vt:lpstr>
      <vt:lpstr>Retrieve Approval Tasks with Filters</vt:lpstr>
      <vt:lpstr>Available Filters &amp; Operators</vt:lpstr>
      <vt:lpstr>Retrieve Records with Filters</vt:lpstr>
      <vt:lpstr>Get Record Detail</vt:lpstr>
      <vt:lpstr>Get Record Detail (continued)</vt:lpstr>
      <vt:lpstr>Record History</vt:lpstr>
      <vt:lpstr>Approval Routes &amp; Signatures</vt:lpstr>
      <vt:lpstr>Complete API Endpoint Reference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a Public API – Training</dc:title>
  <dc:subject>PptxGenJS Presentation</dc:subject>
  <dc:creator>PptxGenJS</dc:creator>
  <cp:lastModifiedBy>Jason Koelle</cp:lastModifiedBy>
  <cp:revision>6</cp:revision>
  <dcterms:created xsi:type="dcterms:W3CDTF">2026-06-24T16:12:46Z</dcterms:created>
  <dcterms:modified xsi:type="dcterms:W3CDTF">2026-07-01T13:5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3DB26875A7A0478DA586E39BBF08EC</vt:lpwstr>
  </property>
</Properties>
</file>